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146848550" r:id="rId5"/>
    <p:sldId id="2146848563" r:id="rId6"/>
    <p:sldId id="2146848658" r:id="rId7"/>
    <p:sldId id="2146848657" r:id="rId8"/>
    <p:sldId id="2146848662" r:id="rId9"/>
    <p:sldId id="2146848665" r:id="rId10"/>
    <p:sldId id="2146848666" r:id="rId11"/>
    <p:sldId id="2146848664" r:id="rId12"/>
    <p:sldId id="2146848663" r:id="rId13"/>
    <p:sldId id="2146848661" r:id="rId14"/>
    <p:sldId id="2146848637" r:id="rId15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" id="{30791553-E4A7-B74D-BF81-DE5660AE8B0A}">
          <p14:sldIdLst>
            <p14:sldId id="2146848550"/>
            <p14:sldId id="2146848563"/>
            <p14:sldId id="2146848658"/>
            <p14:sldId id="2146848657"/>
            <p14:sldId id="2146848662"/>
            <p14:sldId id="2146848665"/>
            <p14:sldId id="2146848666"/>
            <p14:sldId id="2146848664"/>
            <p14:sldId id="2146848663"/>
            <p14:sldId id="2146848661"/>
            <p14:sldId id="214684863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FF7"/>
    <a:srgbClr val="005CA9"/>
    <a:srgbClr val="F44134"/>
    <a:srgbClr val="EAEFF8"/>
    <a:srgbClr val="E7E7E7"/>
    <a:srgbClr val="0073D2"/>
    <a:srgbClr val="FFFFFF"/>
    <a:srgbClr val="CCCCCC"/>
    <a:srgbClr val="F6F5FB"/>
    <a:srgbClr val="008A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34" autoAdjust="0"/>
    <p:restoredTop sz="85935" autoAdjust="0"/>
  </p:normalViewPr>
  <p:slideViewPr>
    <p:cSldViewPr snapToGrid="0" snapToObjects="1" showGuides="1">
      <p:cViewPr varScale="1">
        <p:scale>
          <a:sx n="52" d="100"/>
          <a:sy n="52" d="100"/>
        </p:scale>
        <p:origin x="1240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97" d="100"/>
          <a:sy n="97" d="100"/>
        </p:scale>
        <p:origin x="3120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798420D-4018-4262-95A2-99274DD550A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6257238-49E0-400A-A411-31F210EBC8D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C2F830-B0DB-46FC-86A3-B5C94899501D}" type="datetimeFigureOut">
              <a:rPr lang="de-AT" smtClean="0"/>
              <a:t>07.05.2025</a:t>
            </a:fld>
            <a:endParaRPr lang="de-AT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45CE3B1-EA8A-48F6-A8E4-BE580BEE4B3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975F84-9E32-45C3-9D20-7424B9AC9F0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6E52E6-9B81-46F0-941E-7228A8D5C161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163695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3EF3FD-4CB1-7B4C-BC52-3FB82BCF9752}" type="datetimeFigureOut">
              <a:rPr lang="de-AT" smtClean="0"/>
              <a:t>07.05.2025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CE33D0-74F8-C740-82ED-4CC36B384B7A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4429276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E33D0-74F8-C740-82ED-4CC36B384B7A}" type="slidenum">
              <a:rPr lang="de-AT" smtClean="0"/>
              <a:t>1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2599810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E33D0-74F8-C740-82ED-4CC36B384B7A}" type="slidenum">
              <a:rPr lang="de-AT" smtClean="0"/>
              <a:t>2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1633632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618897-1280-8723-60C4-CA7D331813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A63C7236-0EA6-9D87-1612-D5BA9E886D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086AAFB4-CB81-ECAE-2896-2A6372031B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C3690E81-F718-E387-1D72-5C6180FA85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E33D0-74F8-C740-82ED-4CC36B384B7A}" type="slidenum">
              <a:rPr lang="de-AT" smtClean="0"/>
              <a:t>5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9957370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894739-2B6B-28BD-AE75-8131E647CF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8797720A-72A9-3036-E278-FA32F405C6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2424EE91-7C30-F793-50FF-D1F42B3DF6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986E59D3-ABBC-7BA2-F028-ED7B9EFB16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E33D0-74F8-C740-82ED-4CC36B384B7A}" type="slidenum">
              <a:rPr lang="de-AT" smtClean="0"/>
              <a:t>6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49555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707797-69B7-2547-7EED-5DCCD96E50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0DCBCF08-AB19-011D-3FE1-140E9192E1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A86BC33D-60D4-47FF-D37F-DA4F9F0E7C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BC7F9205-AEF6-0FC4-5CA1-8CB5213E6F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E33D0-74F8-C740-82ED-4CC36B384B7A}" type="slidenum">
              <a:rPr lang="de-AT" smtClean="0"/>
              <a:t>7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0992904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3EE490-A52D-204A-951D-4D3903BDE2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B5B26FC5-9843-BB00-5D5C-9B83FDDC97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D5920BD2-5525-DB28-A761-4930D5A64B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64E6B8F4-BE39-4ED9-2AC8-B262970DD1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E33D0-74F8-C740-82ED-4CC36B384B7A}" type="slidenum">
              <a:rPr lang="de-AT" smtClean="0"/>
              <a:t>8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6772113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B4ADAC-BB0D-A208-275E-588603EC1B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219DD56F-03ED-4722-16ED-A12061BC1E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7F38FF6E-7972-950A-EBA2-AA2A248A69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124B835D-3B3A-32E5-6838-E05D9CD355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E33D0-74F8-C740-82ED-4CC36B384B7A}" type="slidenum">
              <a:rPr lang="de-AT" smtClean="0"/>
              <a:t>9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6740159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E33D0-74F8-C740-82ED-4CC36B384B7A}" type="slidenum">
              <a:rPr lang="de-AT" smtClean="0"/>
              <a:t>10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6073628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E33D0-74F8-C740-82ED-4CC36B384B7A}" type="slidenum">
              <a:rPr lang="de-AT" smtClean="0"/>
              <a:t>11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1200127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emf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_Tytuł + obraz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98DEC2F5-E90F-99B9-050E-B7B7693EA3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301" t="15258" b="16881"/>
          <a:stretch/>
        </p:blipFill>
        <p:spPr>
          <a:xfrm>
            <a:off x="0" y="0"/>
            <a:ext cx="11278064" cy="6858000"/>
          </a:xfrm>
          <a:custGeom>
            <a:avLst/>
            <a:gdLst>
              <a:gd name="connsiteX0" fmla="*/ 0 w 10767828"/>
              <a:gd name="connsiteY0" fmla="*/ 0 h 6858000"/>
              <a:gd name="connsiteX1" fmla="*/ 10767828 w 10767828"/>
              <a:gd name="connsiteY1" fmla="*/ 0 h 6858000"/>
              <a:gd name="connsiteX2" fmla="*/ 10767828 w 10767828"/>
              <a:gd name="connsiteY2" fmla="*/ 6858000 h 6858000"/>
              <a:gd name="connsiteX3" fmla="*/ 0 w 1076782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67828" h="6858000">
                <a:moveTo>
                  <a:pt x="0" y="0"/>
                </a:moveTo>
                <a:lnTo>
                  <a:pt x="10767828" y="0"/>
                </a:lnTo>
                <a:lnTo>
                  <a:pt x="10767828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E6C689BF-E482-EE41-9AAD-256666DD751A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6258559" y="0"/>
            <a:ext cx="5933441" cy="68579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l-PL" dirty="0"/>
              <a:t>Wstaw obraz</a:t>
            </a:r>
            <a:endParaRPr lang="de-AT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D32EE295-763D-944A-934D-A4C6DA13AE0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96875" y="4569378"/>
            <a:ext cx="5268975" cy="168219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Te</a:t>
            </a:r>
            <a:r>
              <a:rPr lang="pl-PL" dirty="0" err="1"/>
              <a:t>ks</a:t>
            </a:r>
            <a:r>
              <a:rPr lang="de-AT" dirty="0"/>
              <a:t>t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E62ABF6D-68BA-DE40-B9BA-2F901B25D9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2336201"/>
            <a:ext cx="5268975" cy="2124492"/>
          </a:xfrm>
        </p:spPr>
        <p:txBody>
          <a:bodyPr lIns="0" tIns="0" rIns="0" bIns="0" anchor="b" anchorCtr="0">
            <a:noAutofit/>
          </a:bodyPr>
          <a:lstStyle>
            <a:lvl1pPr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AT" dirty="0"/>
              <a:t>T</a:t>
            </a:r>
            <a:r>
              <a:rPr lang="pl-PL" dirty="0" err="1"/>
              <a:t>ytuł</a:t>
            </a:r>
            <a:endParaRPr lang="de-AT" dirty="0"/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5908AAF6-E6D3-0444-B401-0111F49DB005}"/>
              </a:ext>
            </a:extLst>
          </p:cNvPr>
          <p:cNvGrpSpPr/>
          <p:nvPr userDrawn="1"/>
        </p:nvGrpSpPr>
        <p:grpSpPr>
          <a:xfrm>
            <a:off x="396876" y="482143"/>
            <a:ext cx="1798639" cy="313459"/>
            <a:chOff x="484807" y="407395"/>
            <a:chExt cx="1200754" cy="209262"/>
          </a:xfrm>
        </p:grpSpPr>
        <p:sp>
          <p:nvSpPr>
            <p:cNvPr id="23" name="Freihandform 22">
              <a:extLst>
                <a:ext uri="{FF2B5EF4-FFF2-40B4-BE49-F238E27FC236}">
                  <a16:creationId xmlns:a16="http://schemas.microsoft.com/office/drawing/2014/main" id="{188F9630-E879-CB46-AD67-9047C26AFFBB}"/>
                </a:ext>
              </a:extLst>
            </p:cNvPr>
            <p:cNvSpPr/>
            <p:nvPr userDrawn="1"/>
          </p:nvSpPr>
          <p:spPr>
            <a:xfrm>
              <a:off x="484807" y="585448"/>
              <a:ext cx="117273" cy="23186"/>
            </a:xfrm>
            <a:custGeom>
              <a:avLst/>
              <a:gdLst>
                <a:gd name="connsiteX0" fmla="*/ 117255 w 117273"/>
                <a:gd name="connsiteY0" fmla="*/ 23160 h 23186"/>
                <a:gd name="connsiteX1" fmla="*/ -18 w 117273"/>
                <a:gd name="connsiteY1" fmla="*/ 23160 h 23186"/>
                <a:gd name="connsiteX2" fmla="*/ 13403 w 117273"/>
                <a:gd name="connsiteY2" fmla="*/ -26 h 23186"/>
                <a:gd name="connsiteX3" fmla="*/ 82269 w 117273"/>
                <a:gd name="connsiteY3" fmla="*/ -26 h 23186"/>
                <a:gd name="connsiteX4" fmla="*/ 91651 w 117273"/>
                <a:gd name="connsiteY4" fmla="*/ 7682 h 23186"/>
                <a:gd name="connsiteX5" fmla="*/ 117255 w 117273"/>
                <a:gd name="connsiteY5" fmla="*/ 23160 h 23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7273" h="23186">
                  <a:moveTo>
                    <a:pt x="117255" y="23160"/>
                  </a:moveTo>
                  <a:lnTo>
                    <a:pt x="-18" y="23160"/>
                  </a:lnTo>
                  <a:lnTo>
                    <a:pt x="13403" y="-26"/>
                  </a:lnTo>
                  <a:lnTo>
                    <a:pt x="82269" y="-26"/>
                  </a:lnTo>
                  <a:cubicBezTo>
                    <a:pt x="85259" y="2696"/>
                    <a:pt x="88390" y="5268"/>
                    <a:pt x="91651" y="7682"/>
                  </a:cubicBezTo>
                  <a:cubicBezTo>
                    <a:pt x="99618" y="13675"/>
                    <a:pt x="108198" y="18862"/>
                    <a:pt x="117255" y="23160"/>
                  </a:cubicBezTo>
                  <a:close/>
                </a:path>
              </a:pathLst>
            </a:custGeom>
            <a:solidFill>
              <a:schemeClr val="bg1"/>
            </a:solidFill>
            <a:ln w="64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24" name="Freihandform 23">
              <a:extLst>
                <a:ext uri="{FF2B5EF4-FFF2-40B4-BE49-F238E27FC236}">
                  <a16:creationId xmlns:a16="http://schemas.microsoft.com/office/drawing/2014/main" id="{FAA0B3C6-CD2B-FD4D-8619-9647728444FF}"/>
                </a:ext>
              </a:extLst>
            </p:cNvPr>
            <p:cNvSpPr/>
            <p:nvPr userDrawn="1"/>
          </p:nvSpPr>
          <p:spPr>
            <a:xfrm>
              <a:off x="585765" y="440327"/>
              <a:ext cx="246498" cy="170138"/>
            </a:xfrm>
            <a:custGeom>
              <a:avLst/>
              <a:gdLst>
                <a:gd name="connsiteX0" fmla="*/ 42033 w 246498"/>
                <a:gd name="connsiteY0" fmla="*/ -26 h 170138"/>
                <a:gd name="connsiteX1" fmla="*/ 43792 w 246498"/>
                <a:gd name="connsiteY1" fmla="*/ 88423 h 170138"/>
                <a:gd name="connsiteX2" fmla="*/ 79039 w 246498"/>
                <a:gd name="connsiteY2" fmla="*/ 121845 h 170138"/>
                <a:gd name="connsiteX3" fmla="*/ 110312 w 246498"/>
                <a:gd name="connsiteY3" fmla="*/ 134038 h 170138"/>
                <a:gd name="connsiteX4" fmla="*/ 161587 w 246498"/>
                <a:gd name="connsiteY4" fmla="*/ 139471 h 170138"/>
                <a:gd name="connsiteX5" fmla="*/ 223547 w 246498"/>
                <a:gd name="connsiteY5" fmla="*/ 140608 h 170138"/>
                <a:gd name="connsiteX6" fmla="*/ 230518 w 246498"/>
                <a:gd name="connsiteY6" fmla="*/ 140608 h 170138"/>
                <a:gd name="connsiteX7" fmla="*/ 246480 w 246498"/>
                <a:gd name="connsiteY7" fmla="*/ 170113 h 170138"/>
                <a:gd name="connsiteX8" fmla="*/ 167125 w 246498"/>
                <a:gd name="connsiteY8" fmla="*/ 169039 h 170138"/>
                <a:gd name="connsiteX9" fmla="*/ 102559 w 246498"/>
                <a:gd name="connsiteY9" fmla="*/ 162279 h 170138"/>
                <a:gd name="connsiteX10" fmla="*/ 63468 w 246498"/>
                <a:gd name="connsiteY10" fmla="*/ 146863 h 170138"/>
                <a:gd name="connsiteX11" fmla="*/ 17275 w 246498"/>
                <a:gd name="connsiteY11" fmla="*/ 104091 h 170138"/>
                <a:gd name="connsiteX12" fmla="*/ 2941 w 246498"/>
                <a:gd name="connsiteY12" fmla="*/ 32384 h 170138"/>
                <a:gd name="connsiteX13" fmla="*/ 26917 w 246498"/>
                <a:gd name="connsiteY13" fmla="*/ 8629 h 170138"/>
                <a:gd name="connsiteX14" fmla="*/ 42033 w 246498"/>
                <a:gd name="connsiteY14" fmla="*/ -26 h 170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6498" h="170138">
                  <a:moveTo>
                    <a:pt x="42033" y="-26"/>
                  </a:moveTo>
                  <a:cubicBezTo>
                    <a:pt x="38254" y="3070"/>
                    <a:pt x="14082" y="48621"/>
                    <a:pt x="43792" y="88423"/>
                  </a:cubicBezTo>
                  <a:cubicBezTo>
                    <a:pt x="53086" y="101763"/>
                    <a:pt x="65078" y="113133"/>
                    <a:pt x="79039" y="121845"/>
                  </a:cubicBezTo>
                  <a:cubicBezTo>
                    <a:pt x="88753" y="127447"/>
                    <a:pt x="99302" y="131559"/>
                    <a:pt x="110312" y="134038"/>
                  </a:cubicBezTo>
                  <a:cubicBezTo>
                    <a:pt x="127194" y="137380"/>
                    <a:pt x="144359" y="139199"/>
                    <a:pt x="161587" y="139471"/>
                  </a:cubicBezTo>
                  <a:cubicBezTo>
                    <a:pt x="179764" y="140419"/>
                    <a:pt x="217096" y="140608"/>
                    <a:pt x="223547" y="140608"/>
                  </a:cubicBezTo>
                  <a:lnTo>
                    <a:pt x="230518" y="140608"/>
                  </a:lnTo>
                  <a:lnTo>
                    <a:pt x="246480" y="170113"/>
                  </a:lnTo>
                  <a:cubicBezTo>
                    <a:pt x="246480" y="170113"/>
                    <a:pt x="192273" y="170113"/>
                    <a:pt x="167125" y="169039"/>
                  </a:cubicBezTo>
                  <a:cubicBezTo>
                    <a:pt x="145436" y="168694"/>
                    <a:pt x="123824" y="166431"/>
                    <a:pt x="102559" y="162279"/>
                  </a:cubicBezTo>
                  <a:cubicBezTo>
                    <a:pt x="88806" y="159067"/>
                    <a:pt x="75629" y="153870"/>
                    <a:pt x="63468" y="146863"/>
                  </a:cubicBezTo>
                  <a:cubicBezTo>
                    <a:pt x="45028" y="136055"/>
                    <a:pt x="29259" y="121454"/>
                    <a:pt x="17275" y="104091"/>
                  </a:cubicBezTo>
                  <a:cubicBezTo>
                    <a:pt x="-5919" y="68269"/>
                    <a:pt x="-121" y="44199"/>
                    <a:pt x="2941" y="32384"/>
                  </a:cubicBezTo>
                  <a:cubicBezTo>
                    <a:pt x="9622" y="23314"/>
                    <a:pt x="17709" y="15301"/>
                    <a:pt x="26917" y="8629"/>
                  </a:cubicBezTo>
                  <a:cubicBezTo>
                    <a:pt x="31664" y="5290"/>
                    <a:pt x="36725" y="2392"/>
                    <a:pt x="42033" y="-26"/>
                  </a:cubicBezTo>
                  <a:close/>
                </a:path>
              </a:pathLst>
            </a:custGeom>
            <a:solidFill>
              <a:schemeClr val="bg1"/>
            </a:solidFill>
            <a:ln w="64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25" name="Freihandform 24">
              <a:extLst>
                <a:ext uri="{FF2B5EF4-FFF2-40B4-BE49-F238E27FC236}">
                  <a16:creationId xmlns:a16="http://schemas.microsoft.com/office/drawing/2014/main" id="{E6CD04F1-1E4A-2541-A645-098F85F11E32}"/>
                </a:ext>
              </a:extLst>
            </p:cNvPr>
            <p:cNvSpPr/>
            <p:nvPr userDrawn="1"/>
          </p:nvSpPr>
          <p:spPr>
            <a:xfrm>
              <a:off x="540596" y="407395"/>
              <a:ext cx="191593" cy="201238"/>
            </a:xfrm>
            <a:custGeom>
              <a:avLst/>
              <a:gdLst>
                <a:gd name="connsiteX0" fmla="*/ 124729 w 191593"/>
                <a:gd name="connsiteY0" fmla="*/ 199254 h 201238"/>
                <a:gd name="connsiteX1" fmla="*/ 104662 w 191593"/>
                <a:gd name="connsiteY1" fmla="*/ 201213 h 201238"/>
                <a:gd name="connsiteX2" fmla="*/ 42377 w 191593"/>
                <a:gd name="connsiteY2" fmla="*/ 177458 h 201238"/>
                <a:gd name="connsiteX3" fmla="*/ 1396 w 191593"/>
                <a:gd name="connsiteY3" fmla="*/ 115164 h 201238"/>
                <a:gd name="connsiteX4" fmla="*/ 419 w 191593"/>
                <a:gd name="connsiteY4" fmla="*/ 105372 h 201238"/>
                <a:gd name="connsiteX5" fmla="*/ 13449 w 191593"/>
                <a:gd name="connsiteY5" fmla="*/ 48132 h 201238"/>
                <a:gd name="connsiteX6" fmla="*/ 64593 w 191593"/>
                <a:gd name="connsiteY6" fmla="*/ 5739 h 201238"/>
                <a:gd name="connsiteX7" fmla="*/ 124208 w 191593"/>
                <a:gd name="connsiteY7" fmla="*/ 3402 h 201238"/>
                <a:gd name="connsiteX8" fmla="*/ 191575 w 191593"/>
                <a:gd name="connsiteY8" fmla="*/ 49585 h 201238"/>
                <a:gd name="connsiteX9" fmla="*/ 126814 w 191593"/>
                <a:gd name="connsiteY9" fmla="*/ 16038 h 201238"/>
                <a:gd name="connsiteX10" fmla="*/ 121276 w 191593"/>
                <a:gd name="connsiteY10" fmla="*/ 16038 h 201238"/>
                <a:gd name="connsiteX11" fmla="*/ 65571 w 191593"/>
                <a:gd name="connsiteY11" fmla="*/ 33096 h 201238"/>
                <a:gd name="connsiteX12" fmla="*/ 39510 w 191593"/>
                <a:gd name="connsiteY12" fmla="*/ 59315 h 201238"/>
                <a:gd name="connsiteX13" fmla="*/ 36252 w 191593"/>
                <a:gd name="connsiteY13" fmla="*/ 64495 h 201238"/>
                <a:gd name="connsiteX14" fmla="*/ 35731 w 191593"/>
                <a:gd name="connsiteY14" fmla="*/ 65317 h 201238"/>
                <a:gd name="connsiteX15" fmla="*/ 34689 w 191593"/>
                <a:gd name="connsiteY15" fmla="*/ 67275 h 201238"/>
                <a:gd name="connsiteX16" fmla="*/ 22505 w 191593"/>
                <a:gd name="connsiteY16" fmla="*/ 113774 h 201238"/>
                <a:gd name="connsiteX17" fmla="*/ 39184 w 191593"/>
                <a:gd name="connsiteY17" fmla="*/ 166402 h 201238"/>
                <a:gd name="connsiteX18" fmla="*/ 68307 w 191593"/>
                <a:gd name="connsiteY18" fmla="*/ 177331 h 201238"/>
                <a:gd name="connsiteX19" fmla="*/ 87853 w 191593"/>
                <a:gd name="connsiteY19" fmla="*/ 178721 h 201238"/>
                <a:gd name="connsiteX20" fmla="*/ 102642 w 191593"/>
                <a:gd name="connsiteY20" fmla="*/ 188577 h 201238"/>
                <a:gd name="connsiteX21" fmla="*/ 124729 w 191593"/>
                <a:gd name="connsiteY21" fmla="*/ 199254 h 201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1593" h="201238">
                  <a:moveTo>
                    <a:pt x="124729" y="199254"/>
                  </a:moveTo>
                  <a:cubicBezTo>
                    <a:pt x="118118" y="200515"/>
                    <a:pt x="111399" y="201170"/>
                    <a:pt x="104662" y="201213"/>
                  </a:cubicBezTo>
                  <a:cubicBezTo>
                    <a:pt x="81782" y="200102"/>
                    <a:pt x="59906" y="191759"/>
                    <a:pt x="42377" y="177458"/>
                  </a:cubicBezTo>
                  <a:cubicBezTo>
                    <a:pt x="21099" y="162452"/>
                    <a:pt x="6460" y="140200"/>
                    <a:pt x="1396" y="115164"/>
                  </a:cubicBezTo>
                  <a:cubicBezTo>
                    <a:pt x="889" y="111919"/>
                    <a:pt x="563" y="108650"/>
                    <a:pt x="419" y="105372"/>
                  </a:cubicBezTo>
                  <a:cubicBezTo>
                    <a:pt x="-1522" y="85439"/>
                    <a:pt x="3035" y="65420"/>
                    <a:pt x="13449" y="48132"/>
                  </a:cubicBezTo>
                  <a:cubicBezTo>
                    <a:pt x="25027" y="28770"/>
                    <a:pt x="43068" y="13817"/>
                    <a:pt x="64593" y="5739"/>
                  </a:cubicBezTo>
                  <a:cubicBezTo>
                    <a:pt x="83728" y="-1046"/>
                    <a:pt x="104571" y="-1864"/>
                    <a:pt x="124208" y="3402"/>
                  </a:cubicBezTo>
                  <a:cubicBezTo>
                    <a:pt x="151529" y="10711"/>
                    <a:pt x="175357" y="27047"/>
                    <a:pt x="191575" y="49585"/>
                  </a:cubicBezTo>
                  <a:cubicBezTo>
                    <a:pt x="175227" y="30759"/>
                    <a:pt x="152040" y="18748"/>
                    <a:pt x="126814" y="16038"/>
                  </a:cubicBezTo>
                  <a:cubicBezTo>
                    <a:pt x="124989" y="16038"/>
                    <a:pt x="123100" y="16038"/>
                    <a:pt x="121276" y="16038"/>
                  </a:cubicBezTo>
                  <a:cubicBezTo>
                    <a:pt x="101288" y="15694"/>
                    <a:pt x="81730" y="21684"/>
                    <a:pt x="65571" y="33096"/>
                  </a:cubicBezTo>
                  <a:cubicBezTo>
                    <a:pt x="55298" y="40211"/>
                    <a:pt x="46464" y="49099"/>
                    <a:pt x="39510" y="59315"/>
                  </a:cubicBezTo>
                  <a:cubicBezTo>
                    <a:pt x="39119" y="59883"/>
                    <a:pt x="37881" y="61652"/>
                    <a:pt x="36252" y="64495"/>
                  </a:cubicBezTo>
                  <a:lnTo>
                    <a:pt x="35731" y="65317"/>
                  </a:lnTo>
                  <a:lnTo>
                    <a:pt x="34689" y="67275"/>
                  </a:lnTo>
                  <a:cubicBezTo>
                    <a:pt x="26977" y="81654"/>
                    <a:pt x="22807" y="97570"/>
                    <a:pt x="22505" y="113774"/>
                  </a:cubicBezTo>
                  <a:cubicBezTo>
                    <a:pt x="22415" y="132553"/>
                    <a:pt x="28233" y="150913"/>
                    <a:pt x="39184" y="166402"/>
                  </a:cubicBezTo>
                  <a:cubicBezTo>
                    <a:pt x="48073" y="171832"/>
                    <a:pt x="57964" y="175544"/>
                    <a:pt x="68307" y="177331"/>
                  </a:cubicBezTo>
                  <a:cubicBezTo>
                    <a:pt x="74752" y="178474"/>
                    <a:pt x="81305" y="178940"/>
                    <a:pt x="87853" y="178721"/>
                  </a:cubicBezTo>
                  <a:cubicBezTo>
                    <a:pt x="92541" y="182335"/>
                    <a:pt x="97483" y="185628"/>
                    <a:pt x="102642" y="188577"/>
                  </a:cubicBezTo>
                  <a:cubicBezTo>
                    <a:pt x="109729" y="192648"/>
                    <a:pt x="117111" y="196217"/>
                    <a:pt x="124729" y="199254"/>
                  </a:cubicBezTo>
                  <a:close/>
                </a:path>
              </a:pathLst>
            </a:custGeom>
            <a:solidFill>
              <a:schemeClr val="bg1"/>
            </a:solidFill>
            <a:ln w="64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26" name="Freihandform 25">
              <a:extLst>
                <a:ext uri="{FF2B5EF4-FFF2-40B4-BE49-F238E27FC236}">
                  <a16:creationId xmlns:a16="http://schemas.microsoft.com/office/drawing/2014/main" id="{5FB36586-B07D-F247-87C8-34116E372D6F}"/>
                </a:ext>
              </a:extLst>
            </p:cNvPr>
            <p:cNvSpPr/>
            <p:nvPr userDrawn="1"/>
          </p:nvSpPr>
          <p:spPr>
            <a:xfrm>
              <a:off x="690818" y="449678"/>
              <a:ext cx="56959" cy="118585"/>
            </a:xfrm>
            <a:custGeom>
              <a:avLst/>
              <a:gdLst>
                <a:gd name="connsiteX0" fmla="*/ 19071 w 56959"/>
                <a:gd name="connsiteY0" fmla="*/ -26 h 118585"/>
                <a:gd name="connsiteX1" fmla="*/ 56794 w 56959"/>
                <a:gd name="connsiteY1" fmla="*/ 60625 h 118585"/>
                <a:gd name="connsiteX2" fmla="*/ 38030 w 56959"/>
                <a:gd name="connsiteY2" fmla="*/ 118559 h 118585"/>
                <a:gd name="connsiteX3" fmla="*/ 7865 w 56959"/>
                <a:gd name="connsiteY3" fmla="*/ 114705 h 118585"/>
                <a:gd name="connsiteX4" fmla="*/ -18 w 56959"/>
                <a:gd name="connsiteY4" fmla="*/ 112621 h 118585"/>
                <a:gd name="connsiteX5" fmla="*/ 28062 w 56959"/>
                <a:gd name="connsiteY5" fmla="*/ 67954 h 118585"/>
                <a:gd name="connsiteX6" fmla="*/ 19071 w 56959"/>
                <a:gd name="connsiteY6" fmla="*/ -26 h 118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959" h="118585">
                  <a:moveTo>
                    <a:pt x="19071" y="-26"/>
                  </a:moveTo>
                  <a:cubicBezTo>
                    <a:pt x="34121" y="8629"/>
                    <a:pt x="55817" y="35859"/>
                    <a:pt x="56794" y="60625"/>
                  </a:cubicBezTo>
                  <a:cubicBezTo>
                    <a:pt x="58423" y="84190"/>
                    <a:pt x="46174" y="107314"/>
                    <a:pt x="38030" y="118559"/>
                  </a:cubicBezTo>
                  <a:cubicBezTo>
                    <a:pt x="27878" y="118134"/>
                    <a:pt x="17784" y="116845"/>
                    <a:pt x="7865" y="114705"/>
                  </a:cubicBezTo>
                  <a:cubicBezTo>
                    <a:pt x="5650" y="114137"/>
                    <a:pt x="3109" y="113568"/>
                    <a:pt x="-18" y="112621"/>
                  </a:cubicBezTo>
                  <a:cubicBezTo>
                    <a:pt x="13416" y="100532"/>
                    <a:pt x="23135" y="85072"/>
                    <a:pt x="28062" y="67954"/>
                  </a:cubicBezTo>
                  <a:cubicBezTo>
                    <a:pt x="35371" y="45101"/>
                    <a:pt x="32091" y="20298"/>
                    <a:pt x="19071" y="-26"/>
                  </a:cubicBezTo>
                  <a:close/>
                </a:path>
              </a:pathLst>
            </a:custGeom>
            <a:solidFill>
              <a:schemeClr val="bg1"/>
            </a:solidFill>
            <a:ln w="64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27" name="Freihandform 26">
              <a:extLst>
                <a:ext uri="{FF2B5EF4-FFF2-40B4-BE49-F238E27FC236}">
                  <a16:creationId xmlns:a16="http://schemas.microsoft.com/office/drawing/2014/main" id="{0F063D0B-D822-6B49-8893-3A0EE90F190B}"/>
                </a:ext>
              </a:extLst>
            </p:cNvPr>
            <p:cNvSpPr/>
            <p:nvPr userDrawn="1"/>
          </p:nvSpPr>
          <p:spPr>
            <a:xfrm>
              <a:off x="901911" y="445318"/>
              <a:ext cx="151022" cy="169633"/>
            </a:xfrm>
            <a:custGeom>
              <a:avLst/>
              <a:gdLst>
                <a:gd name="connsiteX0" fmla="*/ -18 w 151022"/>
                <a:gd name="connsiteY0" fmla="*/ -26 h 169633"/>
                <a:gd name="connsiteX1" fmla="*/ 32167 w 151022"/>
                <a:gd name="connsiteY1" fmla="*/ -26 h 169633"/>
                <a:gd name="connsiteX2" fmla="*/ 32167 w 151022"/>
                <a:gd name="connsiteY2" fmla="*/ 91961 h 169633"/>
                <a:gd name="connsiteX3" fmla="*/ 75493 w 151022"/>
                <a:gd name="connsiteY3" fmla="*/ 140545 h 169633"/>
                <a:gd name="connsiteX4" fmla="*/ 118819 w 151022"/>
                <a:gd name="connsiteY4" fmla="*/ 91961 h 169633"/>
                <a:gd name="connsiteX5" fmla="*/ 118819 w 151022"/>
                <a:gd name="connsiteY5" fmla="*/ -26 h 169633"/>
                <a:gd name="connsiteX6" fmla="*/ 151004 w 151022"/>
                <a:gd name="connsiteY6" fmla="*/ -26 h 169633"/>
                <a:gd name="connsiteX7" fmla="*/ 151004 w 151022"/>
                <a:gd name="connsiteY7" fmla="*/ 98595 h 169633"/>
                <a:gd name="connsiteX8" fmla="*/ 75623 w 151022"/>
                <a:gd name="connsiteY8" fmla="*/ 169607 h 169633"/>
                <a:gd name="connsiteX9" fmla="*/ -18 w 151022"/>
                <a:gd name="connsiteY9" fmla="*/ 98595 h 169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1022" h="169633">
                  <a:moveTo>
                    <a:pt x="-18" y="-26"/>
                  </a:moveTo>
                  <a:lnTo>
                    <a:pt x="32167" y="-26"/>
                  </a:lnTo>
                  <a:lnTo>
                    <a:pt x="32167" y="91961"/>
                  </a:lnTo>
                  <a:cubicBezTo>
                    <a:pt x="32167" y="122350"/>
                    <a:pt x="50931" y="140545"/>
                    <a:pt x="75493" y="140545"/>
                  </a:cubicBezTo>
                  <a:cubicBezTo>
                    <a:pt x="100055" y="140545"/>
                    <a:pt x="118819" y="122350"/>
                    <a:pt x="118819" y="91961"/>
                  </a:cubicBezTo>
                  <a:lnTo>
                    <a:pt x="118819" y="-26"/>
                  </a:lnTo>
                  <a:lnTo>
                    <a:pt x="151004" y="-26"/>
                  </a:lnTo>
                  <a:lnTo>
                    <a:pt x="151004" y="98595"/>
                  </a:lnTo>
                  <a:cubicBezTo>
                    <a:pt x="151004" y="136881"/>
                    <a:pt x="121230" y="169607"/>
                    <a:pt x="75623" y="169607"/>
                  </a:cubicBezTo>
                  <a:cubicBezTo>
                    <a:pt x="30017" y="169607"/>
                    <a:pt x="-18" y="136881"/>
                    <a:pt x="-18" y="98595"/>
                  </a:cubicBezTo>
                  <a:close/>
                </a:path>
              </a:pathLst>
            </a:custGeom>
            <a:solidFill>
              <a:schemeClr val="bg1"/>
            </a:solidFill>
            <a:ln w="64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28" name="Freihandform 27">
              <a:extLst>
                <a:ext uri="{FF2B5EF4-FFF2-40B4-BE49-F238E27FC236}">
                  <a16:creationId xmlns:a16="http://schemas.microsoft.com/office/drawing/2014/main" id="{52AA6CBE-A93D-274A-8F39-550FB15067B7}"/>
                </a:ext>
              </a:extLst>
            </p:cNvPr>
            <p:cNvSpPr/>
            <p:nvPr userDrawn="1"/>
          </p:nvSpPr>
          <p:spPr>
            <a:xfrm>
              <a:off x="1088898" y="445318"/>
              <a:ext cx="142683" cy="166032"/>
            </a:xfrm>
            <a:custGeom>
              <a:avLst/>
              <a:gdLst>
                <a:gd name="connsiteX0" fmla="*/ 142683 w 142683"/>
                <a:gd name="connsiteY0" fmla="*/ 166032 h 166032"/>
                <a:gd name="connsiteX1" fmla="*/ 142683 w 142683"/>
                <a:gd name="connsiteY1" fmla="*/ 0 h 166032"/>
                <a:gd name="connsiteX2" fmla="*/ 110824 w 142683"/>
                <a:gd name="connsiteY2" fmla="*/ 0 h 166032"/>
                <a:gd name="connsiteX3" fmla="*/ 110824 w 142683"/>
                <a:gd name="connsiteY3" fmla="*/ 103612 h 166032"/>
                <a:gd name="connsiteX4" fmla="*/ 17396 w 142683"/>
                <a:gd name="connsiteY4" fmla="*/ 0 h 166032"/>
                <a:gd name="connsiteX5" fmla="*/ 0 w 142683"/>
                <a:gd name="connsiteY5" fmla="*/ 0 h 166032"/>
                <a:gd name="connsiteX6" fmla="*/ 0 w 142683"/>
                <a:gd name="connsiteY6" fmla="*/ 165716 h 166032"/>
                <a:gd name="connsiteX7" fmla="*/ 31859 w 142683"/>
                <a:gd name="connsiteY7" fmla="*/ 165716 h 166032"/>
                <a:gd name="connsiteX8" fmla="*/ 31859 w 142683"/>
                <a:gd name="connsiteY8" fmla="*/ 62610 h 166032"/>
                <a:gd name="connsiteX9" fmla="*/ 125092 w 142683"/>
                <a:gd name="connsiteY9" fmla="*/ 166032 h 166032"/>
                <a:gd name="connsiteX10" fmla="*/ 142683 w 142683"/>
                <a:gd name="connsiteY10" fmla="*/ 166032 h 166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2683" h="166032">
                  <a:moveTo>
                    <a:pt x="142683" y="166032"/>
                  </a:moveTo>
                  <a:lnTo>
                    <a:pt x="142683" y="0"/>
                  </a:lnTo>
                  <a:lnTo>
                    <a:pt x="110824" y="0"/>
                  </a:lnTo>
                  <a:lnTo>
                    <a:pt x="110824" y="103612"/>
                  </a:lnTo>
                  <a:lnTo>
                    <a:pt x="17396" y="0"/>
                  </a:lnTo>
                  <a:lnTo>
                    <a:pt x="0" y="0"/>
                  </a:lnTo>
                  <a:lnTo>
                    <a:pt x="0" y="165716"/>
                  </a:lnTo>
                  <a:lnTo>
                    <a:pt x="31859" y="165716"/>
                  </a:lnTo>
                  <a:lnTo>
                    <a:pt x="31859" y="62610"/>
                  </a:lnTo>
                  <a:lnTo>
                    <a:pt x="125092" y="166032"/>
                  </a:lnTo>
                  <a:lnTo>
                    <a:pt x="142683" y="166032"/>
                  </a:lnTo>
                  <a:close/>
                </a:path>
              </a:pathLst>
            </a:custGeom>
            <a:solidFill>
              <a:schemeClr val="bg1"/>
            </a:solidFill>
            <a:ln w="64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29" name="Freihandform 28">
              <a:extLst>
                <a:ext uri="{FF2B5EF4-FFF2-40B4-BE49-F238E27FC236}">
                  <a16:creationId xmlns:a16="http://schemas.microsoft.com/office/drawing/2014/main" id="{4E9BD347-4860-BD43-9C5B-7837AF829111}"/>
                </a:ext>
              </a:extLst>
            </p:cNvPr>
            <p:cNvSpPr/>
            <p:nvPr userDrawn="1"/>
          </p:nvSpPr>
          <p:spPr>
            <a:xfrm>
              <a:off x="1269695" y="445318"/>
              <a:ext cx="33032" cy="165779"/>
            </a:xfrm>
            <a:custGeom>
              <a:avLst/>
              <a:gdLst>
                <a:gd name="connsiteX0" fmla="*/ 0 w 33032"/>
                <a:gd name="connsiteY0" fmla="*/ 0 h 165779"/>
                <a:gd name="connsiteX1" fmla="*/ 33032 w 33032"/>
                <a:gd name="connsiteY1" fmla="*/ 0 h 165779"/>
                <a:gd name="connsiteX2" fmla="*/ 33032 w 33032"/>
                <a:gd name="connsiteY2" fmla="*/ 165780 h 165779"/>
                <a:gd name="connsiteX3" fmla="*/ 0 w 33032"/>
                <a:gd name="connsiteY3" fmla="*/ 165780 h 165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032" h="165779">
                  <a:moveTo>
                    <a:pt x="0" y="0"/>
                  </a:moveTo>
                  <a:lnTo>
                    <a:pt x="33032" y="0"/>
                  </a:lnTo>
                  <a:lnTo>
                    <a:pt x="33032" y="165780"/>
                  </a:lnTo>
                  <a:lnTo>
                    <a:pt x="0" y="165780"/>
                  </a:lnTo>
                  <a:close/>
                </a:path>
              </a:pathLst>
            </a:custGeom>
            <a:solidFill>
              <a:schemeClr val="bg1"/>
            </a:solidFill>
            <a:ln w="64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30" name="Freihandform 29">
              <a:extLst>
                <a:ext uri="{FF2B5EF4-FFF2-40B4-BE49-F238E27FC236}">
                  <a16:creationId xmlns:a16="http://schemas.microsoft.com/office/drawing/2014/main" id="{D51720CA-9E69-974B-A465-E23E85FDDA33}"/>
                </a:ext>
              </a:extLst>
            </p:cNvPr>
            <p:cNvSpPr/>
            <p:nvPr userDrawn="1"/>
          </p:nvSpPr>
          <p:spPr>
            <a:xfrm>
              <a:off x="1331007" y="438495"/>
              <a:ext cx="183727" cy="178162"/>
            </a:xfrm>
            <a:custGeom>
              <a:avLst/>
              <a:gdLst>
                <a:gd name="connsiteX0" fmla="*/ 183707 w 183727"/>
                <a:gd name="connsiteY0" fmla="*/ 89687 h 178162"/>
                <a:gd name="connsiteX1" fmla="*/ 92494 w 183727"/>
                <a:gd name="connsiteY1" fmla="*/ -24 h 178162"/>
                <a:gd name="connsiteX2" fmla="*/ -16 w 183727"/>
                <a:gd name="connsiteY2" fmla="*/ 88423 h 178162"/>
                <a:gd name="connsiteX3" fmla="*/ 91191 w 183727"/>
                <a:gd name="connsiteY3" fmla="*/ 178134 h 178162"/>
                <a:gd name="connsiteX4" fmla="*/ 91842 w 183727"/>
                <a:gd name="connsiteY4" fmla="*/ 178136 h 178162"/>
                <a:gd name="connsiteX5" fmla="*/ 143964 w 183727"/>
                <a:gd name="connsiteY5" fmla="*/ 162657 h 178162"/>
                <a:gd name="connsiteX6" fmla="*/ 158949 w 183727"/>
                <a:gd name="connsiteY6" fmla="*/ 177188 h 178162"/>
                <a:gd name="connsiteX7" fmla="*/ 179928 w 183727"/>
                <a:gd name="connsiteY7" fmla="*/ 156845 h 178162"/>
                <a:gd name="connsiteX8" fmla="*/ 165464 w 183727"/>
                <a:gd name="connsiteY8" fmla="*/ 142883 h 178162"/>
                <a:gd name="connsiteX9" fmla="*/ 183707 w 183727"/>
                <a:gd name="connsiteY9" fmla="*/ 89687 h 178162"/>
                <a:gd name="connsiteX10" fmla="*/ 91842 w 183727"/>
                <a:gd name="connsiteY10" fmla="*/ 150211 h 178162"/>
                <a:gd name="connsiteX11" fmla="*/ 26625 w 183727"/>
                <a:gd name="connsiteY11" fmla="*/ 92401 h 178162"/>
                <a:gd name="connsiteX12" fmla="*/ 86239 w 183727"/>
                <a:gd name="connsiteY12" fmla="*/ 29158 h 178162"/>
                <a:gd name="connsiteX13" fmla="*/ 151456 w 183727"/>
                <a:gd name="connsiteY13" fmla="*/ 86967 h 178162"/>
                <a:gd name="connsiteX14" fmla="*/ 151521 w 183727"/>
                <a:gd name="connsiteY14" fmla="*/ 89687 h 178162"/>
                <a:gd name="connsiteX15" fmla="*/ 142986 w 183727"/>
                <a:gd name="connsiteY15" fmla="*/ 120897 h 178162"/>
                <a:gd name="connsiteX16" fmla="*/ 123441 w 183727"/>
                <a:gd name="connsiteY16" fmla="*/ 101943 h 178162"/>
                <a:gd name="connsiteX17" fmla="*/ 102592 w 183727"/>
                <a:gd name="connsiteY17" fmla="*/ 122034 h 178162"/>
                <a:gd name="connsiteX18" fmla="*/ 122724 w 183727"/>
                <a:gd name="connsiteY18" fmla="*/ 141619 h 178162"/>
                <a:gd name="connsiteX19" fmla="*/ 91842 w 183727"/>
                <a:gd name="connsiteY19" fmla="*/ 150211 h 17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3727" h="178162">
                  <a:moveTo>
                    <a:pt x="183707" y="89687"/>
                  </a:moveTo>
                  <a:cubicBezTo>
                    <a:pt x="184065" y="40490"/>
                    <a:pt x="143228" y="325"/>
                    <a:pt x="92494" y="-24"/>
                  </a:cubicBezTo>
                  <a:cubicBezTo>
                    <a:pt x="41760" y="-373"/>
                    <a:pt x="342" y="39226"/>
                    <a:pt x="-16" y="88423"/>
                  </a:cubicBezTo>
                  <a:cubicBezTo>
                    <a:pt x="-381" y="137620"/>
                    <a:pt x="40456" y="177785"/>
                    <a:pt x="91191" y="178134"/>
                  </a:cubicBezTo>
                  <a:cubicBezTo>
                    <a:pt x="91412" y="178135"/>
                    <a:pt x="91627" y="178136"/>
                    <a:pt x="91842" y="178136"/>
                  </a:cubicBezTo>
                  <a:cubicBezTo>
                    <a:pt x="110423" y="178177"/>
                    <a:pt x="128588" y="172783"/>
                    <a:pt x="143964" y="162657"/>
                  </a:cubicBezTo>
                  <a:lnTo>
                    <a:pt x="158949" y="177188"/>
                  </a:lnTo>
                  <a:lnTo>
                    <a:pt x="179928" y="156845"/>
                  </a:lnTo>
                  <a:lnTo>
                    <a:pt x="165464" y="142883"/>
                  </a:lnTo>
                  <a:cubicBezTo>
                    <a:pt x="177400" y="127573"/>
                    <a:pt x="183811" y="108880"/>
                    <a:pt x="183707" y="89687"/>
                  </a:cubicBezTo>
                  <a:close/>
                  <a:moveTo>
                    <a:pt x="91842" y="150211"/>
                  </a:moveTo>
                  <a:cubicBezTo>
                    <a:pt x="57370" y="151712"/>
                    <a:pt x="28169" y="125829"/>
                    <a:pt x="26625" y="92401"/>
                  </a:cubicBezTo>
                  <a:cubicBezTo>
                    <a:pt x="25074" y="58973"/>
                    <a:pt x="51767" y="30658"/>
                    <a:pt x="86239" y="29158"/>
                  </a:cubicBezTo>
                  <a:cubicBezTo>
                    <a:pt x="120711" y="27657"/>
                    <a:pt x="149912" y="53540"/>
                    <a:pt x="151456" y="86967"/>
                  </a:cubicBezTo>
                  <a:cubicBezTo>
                    <a:pt x="151502" y="87873"/>
                    <a:pt x="151521" y="88780"/>
                    <a:pt x="151521" y="89687"/>
                  </a:cubicBezTo>
                  <a:cubicBezTo>
                    <a:pt x="151554" y="100636"/>
                    <a:pt x="148609" y="111400"/>
                    <a:pt x="142986" y="120897"/>
                  </a:cubicBezTo>
                  <a:lnTo>
                    <a:pt x="123441" y="101943"/>
                  </a:lnTo>
                  <a:lnTo>
                    <a:pt x="102592" y="122034"/>
                  </a:lnTo>
                  <a:lnTo>
                    <a:pt x="122724" y="141619"/>
                  </a:lnTo>
                  <a:cubicBezTo>
                    <a:pt x="113486" y="147285"/>
                    <a:pt x="102768" y="150267"/>
                    <a:pt x="91842" y="150211"/>
                  </a:cubicBezTo>
                  <a:close/>
                </a:path>
              </a:pathLst>
            </a:custGeom>
            <a:solidFill>
              <a:schemeClr val="bg1"/>
            </a:solidFill>
            <a:ln w="64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36" name="Freihandform 35">
              <a:extLst>
                <a:ext uri="{FF2B5EF4-FFF2-40B4-BE49-F238E27FC236}">
                  <a16:creationId xmlns:a16="http://schemas.microsoft.com/office/drawing/2014/main" id="{C124DED0-0EAC-8B4B-8C97-AD3C5D2D8091}"/>
                </a:ext>
              </a:extLst>
            </p:cNvPr>
            <p:cNvSpPr/>
            <p:nvPr userDrawn="1"/>
          </p:nvSpPr>
          <p:spPr>
            <a:xfrm>
              <a:off x="1515840" y="445318"/>
              <a:ext cx="169721" cy="165779"/>
            </a:xfrm>
            <a:custGeom>
              <a:avLst/>
              <a:gdLst>
                <a:gd name="connsiteX0" fmla="*/ 134391 w 169721"/>
                <a:gd name="connsiteY0" fmla="*/ 165753 h 165779"/>
                <a:gd name="connsiteX1" fmla="*/ 169703 w 169721"/>
                <a:gd name="connsiteY1" fmla="*/ 165753 h 165779"/>
                <a:gd name="connsiteX2" fmla="*/ 96863 w 169721"/>
                <a:gd name="connsiteY2" fmla="*/ -26 h 165779"/>
                <a:gd name="connsiteX3" fmla="*/ 74711 w 169721"/>
                <a:gd name="connsiteY3" fmla="*/ -26 h 165779"/>
                <a:gd name="connsiteX4" fmla="*/ -18 w 169721"/>
                <a:gd name="connsiteY4" fmla="*/ 165753 h 165779"/>
                <a:gd name="connsiteX5" fmla="*/ 34252 w 169721"/>
                <a:gd name="connsiteY5" fmla="*/ 165753 h 165779"/>
                <a:gd name="connsiteX6" fmla="*/ 47673 w 169721"/>
                <a:gd name="connsiteY6" fmla="*/ 134543 h 165779"/>
                <a:gd name="connsiteX7" fmla="*/ 121360 w 169721"/>
                <a:gd name="connsiteY7" fmla="*/ 134543 h 165779"/>
                <a:gd name="connsiteX8" fmla="*/ 59466 w 169721"/>
                <a:gd name="connsiteY8" fmla="*/ 107250 h 165779"/>
                <a:gd name="connsiteX9" fmla="*/ 85136 w 169721"/>
                <a:gd name="connsiteY9" fmla="*/ 47610 h 165779"/>
                <a:gd name="connsiteX10" fmla="*/ 110024 w 169721"/>
                <a:gd name="connsiteY10" fmla="*/ 107250 h 165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9721" h="165779">
                  <a:moveTo>
                    <a:pt x="134391" y="165753"/>
                  </a:moveTo>
                  <a:lnTo>
                    <a:pt x="169703" y="165753"/>
                  </a:lnTo>
                  <a:lnTo>
                    <a:pt x="96863" y="-26"/>
                  </a:lnTo>
                  <a:lnTo>
                    <a:pt x="74711" y="-26"/>
                  </a:lnTo>
                  <a:lnTo>
                    <a:pt x="-18" y="165753"/>
                  </a:lnTo>
                  <a:lnTo>
                    <a:pt x="34252" y="165753"/>
                  </a:lnTo>
                  <a:lnTo>
                    <a:pt x="47673" y="134543"/>
                  </a:lnTo>
                  <a:lnTo>
                    <a:pt x="121360" y="134543"/>
                  </a:lnTo>
                  <a:close/>
                  <a:moveTo>
                    <a:pt x="59466" y="107250"/>
                  </a:moveTo>
                  <a:lnTo>
                    <a:pt x="85136" y="47610"/>
                  </a:lnTo>
                  <a:lnTo>
                    <a:pt x="110024" y="107250"/>
                  </a:lnTo>
                  <a:close/>
                </a:path>
              </a:pathLst>
            </a:custGeom>
            <a:solidFill>
              <a:schemeClr val="bg1"/>
            </a:solidFill>
            <a:ln w="64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</p:grpSp>
    </p:spTree>
    <p:extLst>
      <p:ext uri="{BB962C8B-B14F-4D97-AF65-F5344CB8AC3E}">
        <p14:creationId xmlns:p14="http://schemas.microsoft.com/office/powerpoint/2010/main" val="5325089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4_Hasło + tekst + oddzielenie lewej st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42DE4ED8-512E-C546-B13F-87676A8B0E84}"/>
              </a:ext>
            </a:extLst>
          </p:cNvPr>
          <p:cNvSpPr/>
          <p:nvPr userDrawn="1"/>
        </p:nvSpPr>
        <p:spPr>
          <a:xfrm>
            <a:off x="0" y="0"/>
            <a:ext cx="45468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E0F618B5-F9DA-C44F-8ED5-0201D6AA4C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3363" y="2179331"/>
            <a:ext cx="3630338" cy="918641"/>
          </a:xfrm>
        </p:spPr>
        <p:txBody>
          <a:bodyPr lIns="0" rIns="0" anchor="b" anchorCtr="0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Hasło</a:t>
            </a:r>
            <a:br>
              <a:rPr lang="pl-PL" dirty="0"/>
            </a:br>
            <a:r>
              <a:rPr lang="pl-PL" dirty="0" err="1"/>
              <a:t>Hasło</a:t>
            </a:r>
            <a:endParaRPr lang="de-AT" dirty="0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50EA3119-2818-8A48-B142-6B0427CB281B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93363" y="3429000"/>
            <a:ext cx="3630338" cy="23512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FD11ABAE-A311-92C9-D0BB-4EDA83C82C51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5343525" y="1266825"/>
            <a:ext cx="6448426" cy="49847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84150" indent="-18415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8F85FD14-D819-598A-2D7C-261F43CEBA6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5C285838-B9AF-4BC3-9B97-716F88B192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2D744909-7F7E-5441-B594-6335F4F666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C5E513D8-22A0-40A1-84D6-2C942D5D4450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D584EE45-34B3-7B48-86DD-7896AB6BF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1C023245-2491-3848-B515-32B8968384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071326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5_Oddzielenie lewej stro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42DE4ED8-512E-C546-B13F-87676A8B0E84}"/>
              </a:ext>
            </a:extLst>
          </p:cNvPr>
          <p:cNvSpPr/>
          <p:nvPr userDrawn="1"/>
        </p:nvSpPr>
        <p:spPr>
          <a:xfrm>
            <a:off x="0" y="0"/>
            <a:ext cx="45468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9203FBCE-F319-30E9-7CD5-C639DEDE1D28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90694FE1-2C9E-3361-F545-2EBE09E5D64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DAFA2EFD-2921-BEEB-2EFE-1F40B2A42A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1CF4C435-B482-E94A-B653-1E53192956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A64BB469-7CE9-4CC8-9712-DE1D2120D13A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0F137590-5897-F846-B7F3-5064688EEF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0A77435A-6E14-614C-9AA8-46ACC143E5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616497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6_Hasło + tekst + oddzielenie lewej stro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925CB363-27FD-2240-BD68-CE87CD804C2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847013D8-063A-E2D5-6FB1-686F6143C7C9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E7786AF2-BDCA-A38D-F3E8-37BC26E0DB3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A65AF093-6884-D56A-29F0-427A4DB510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9D2A828D-488A-8C13-607B-1E8977FE484E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6757989" y="1345447"/>
            <a:ext cx="5033962" cy="490612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183600" indent="-18360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5DA110A6-6EA2-AF4C-8211-C445403FB3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9CB2114D-C65A-4E8E-B420-CFCA8EC84E91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E98AD130-25DE-9C4C-A143-C5F97715BE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0CB4C87D-6A14-DF4B-B213-AEB1E042F8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7BE7145C-9940-8F43-8F11-F0AA31D11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3363" y="2179331"/>
            <a:ext cx="5233714" cy="918641"/>
          </a:xfrm>
        </p:spPr>
        <p:txBody>
          <a:bodyPr lIns="0" rIns="0" anchor="b" anchorCtr="0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Hasło</a:t>
            </a:r>
            <a:br>
              <a:rPr lang="pl-PL" dirty="0"/>
            </a:br>
            <a:r>
              <a:rPr lang="pl-PL" dirty="0" err="1"/>
              <a:t>Hasło</a:t>
            </a:r>
            <a:endParaRPr lang="de-AT" dirty="0"/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6C3FD15B-48BB-9041-9F45-0D85279A8304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93363" y="3429000"/>
            <a:ext cx="5233714" cy="23512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878895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7_Oddzielenie lewej str - połow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92B6422-F961-FE44-89F9-965575142008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7F4E9EF7-ED7B-31B2-5EAF-C02402D5A435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75CEA320-A04E-3F1B-9941-5DC90093AB7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3B62A82F-560D-428D-6F8C-197D0FEE15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18" name="Datumsplatzhalter 3">
            <a:extLst>
              <a:ext uri="{FF2B5EF4-FFF2-40B4-BE49-F238E27FC236}">
                <a16:creationId xmlns:a16="http://schemas.microsoft.com/office/drawing/2014/main" id="{25812868-BB8C-B04E-BF7D-300C3D4028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A0FC4BC4-6AC3-4E4F-AA0B-5036274B1C3E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4690ED4B-081B-3B4A-AA2D-9E3925E421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140530A1-1BCE-0E46-8C9E-5E32D374EA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415233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_Ikony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20A4881D-0A50-4B4E-81A2-73368B3AB9CF}"/>
              </a:ext>
            </a:extLst>
          </p:cNvPr>
          <p:cNvSpPr/>
          <p:nvPr userDrawn="1"/>
        </p:nvSpPr>
        <p:spPr>
          <a:xfrm>
            <a:off x="6331944" y="2491483"/>
            <a:ext cx="5375743" cy="426819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B1393168-A105-364D-A63B-EDD8F1CFDD49}"/>
              </a:ext>
            </a:extLst>
          </p:cNvPr>
          <p:cNvSpPr/>
          <p:nvPr userDrawn="1"/>
        </p:nvSpPr>
        <p:spPr>
          <a:xfrm>
            <a:off x="409640" y="2491483"/>
            <a:ext cx="5375743" cy="426819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F8D218E-4608-494E-90CF-78FC1BF1EA3B}"/>
              </a:ext>
            </a:extLst>
          </p:cNvPr>
          <p:cNvSpPr/>
          <p:nvPr/>
        </p:nvSpPr>
        <p:spPr>
          <a:xfrm>
            <a:off x="810612" y="1702105"/>
            <a:ext cx="656028" cy="656026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187F890-1179-944D-8121-DE4790657962}"/>
              </a:ext>
            </a:extLst>
          </p:cNvPr>
          <p:cNvSpPr/>
          <p:nvPr/>
        </p:nvSpPr>
        <p:spPr>
          <a:xfrm>
            <a:off x="864067" y="1755559"/>
            <a:ext cx="549119" cy="5491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7D4D7FB-AE9F-2340-9722-5D1378CCC6AF}"/>
              </a:ext>
            </a:extLst>
          </p:cNvPr>
          <p:cNvSpPr/>
          <p:nvPr/>
        </p:nvSpPr>
        <p:spPr>
          <a:xfrm>
            <a:off x="6722900" y="1702105"/>
            <a:ext cx="656028" cy="656026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A5CC77E-036D-EC40-A562-7627987AB2C7}"/>
              </a:ext>
            </a:extLst>
          </p:cNvPr>
          <p:cNvSpPr/>
          <p:nvPr/>
        </p:nvSpPr>
        <p:spPr>
          <a:xfrm>
            <a:off x="6776355" y="1755560"/>
            <a:ext cx="549119" cy="5491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037066C4-CBC9-724F-BBC3-51D036610465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25014" y="3051654"/>
            <a:ext cx="4619669" cy="32039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3527E712-A189-B248-A11A-12FFF618606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747319" y="3051654"/>
            <a:ext cx="4619668" cy="32039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CC244438-4536-2145-B2E3-7A7DAF20065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25014" y="2609243"/>
            <a:ext cx="4620768" cy="2095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Hasło</a:t>
            </a:r>
            <a:endParaRPr lang="de-AT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B2A71910-67A5-E542-94BA-2E36E70E1ADE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47318" y="2609243"/>
            <a:ext cx="4620768" cy="2095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Hasło</a:t>
            </a:r>
            <a:endParaRPr lang="de-AT" dirty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03472402-3284-D540-BC45-E1822E55246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26856" y="1809088"/>
            <a:ext cx="448117" cy="44206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8924E60F-2DC0-744B-9E76-F223807CA4D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14568" y="1809088"/>
            <a:ext cx="448117" cy="44206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  <p:sp>
        <p:nvSpPr>
          <p:cNvPr id="33" name="Titel 1">
            <a:extLst>
              <a:ext uri="{FF2B5EF4-FFF2-40B4-BE49-F238E27FC236}">
                <a16:creationId xmlns:a16="http://schemas.microsoft.com/office/drawing/2014/main" id="{05D0D3D6-F592-9D63-A6B5-0A662F6B08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A5142679-5DD7-0852-05AA-B6BA3EE2156D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B612063A-B2A4-EF42-1FAD-A9E339557E1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5AD6396B-1DD2-BCFC-9E9F-820EEE4D9B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27" name="Datumsplatzhalter 3">
            <a:extLst>
              <a:ext uri="{FF2B5EF4-FFF2-40B4-BE49-F238E27FC236}">
                <a16:creationId xmlns:a16="http://schemas.microsoft.com/office/drawing/2014/main" id="{F1B8D1C9-6E6A-CC41-98A8-5E1D2773C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5FFE5DA1-6396-41FB-AF2D-8629AE5FEBCC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A3769442-76C8-DD44-B7F5-A3653A9F67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25FEA44E-22BC-A04C-A332-50B472149A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963191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2_Ikony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ihandform 28">
            <a:extLst>
              <a:ext uri="{FF2B5EF4-FFF2-40B4-BE49-F238E27FC236}">
                <a16:creationId xmlns:a16="http://schemas.microsoft.com/office/drawing/2014/main" id="{96AC26B5-C7F6-0740-B749-527FA3307F1B}"/>
              </a:ext>
            </a:extLst>
          </p:cNvPr>
          <p:cNvSpPr/>
          <p:nvPr userDrawn="1"/>
        </p:nvSpPr>
        <p:spPr>
          <a:xfrm>
            <a:off x="0" y="2188382"/>
            <a:ext cx="10481849" cy="4067175"/>
          </a:xfrm>
          <a:custGeom>
            <a:avLst/>
            <a:gdLst>
              <a:gd name="connsiteX0" fmla="*/ 0 w 10481849"/>
              <a:gd name="connsiteY0" fmla="*/ 0 h 4067175"/>
              <a:gd name="connsiteX1" fmla="*/ 10362843 w 10481849"/>
              <a:gd name="connsiteY1" fmla="*/ 0 h 4067175"/>
              <a:gd name="connsiteX2" fmla="*/ 10481849 w 10481849"/>
              <a:gd name="connsiteY2" fmla="*/ 119006 h 4067175"/>
              <a:gd name="connsiteX3" fmla="*/ 10481849 w 10481849"/>
              <a:gd name="connsiteY3" fmla="*/ 3948169 h 4067175"/>
              <a:gd name="connsiteX4" fmla="*/ 10362843 w 10481849"/>
              <a:gd name="connsiteY4" fmla="*/ 4067175 h 4067175"/>
              <a:gd name="connsiteX5" fmla="*/ 0 w 10481849"/>
              <a:gd name="connsiteY5" fmla="*/ 4067175 h 406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1849" h="4067175">
                <a:moveTo>
                  <a:pt x="0" y="0"/>
                </a:moveTo>
                <a:lnTo>
                  <a:pt x="10362843" y="0"/>
                </a:lnTo>
                <a:cubicBezTo>
                  <a:pt x="10428568" y="0"/>
                  <a:pt x="10481849" y="53281"/>
                  <a:pt x="10481849" y="119006"/>
                </a:cubicBezTo>
                <a:lnTo>
                  <a:pt x="10481849" y="3948169"/>
                </a:lnTo>
                <a:cubicBezTo>
                  <a:pt x="10481849" y="4013894"/>
                  <a:pt x="10428568" y="4067175"/>
                  <a:pt x="10362843" y="4067175"/>
                </a:cubicBezTo>
                <a:lnTo>
                  <a:pt x="0" y="406717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DB1B470-E202-C742-B075-8D1933B3332D}"/>
              </a:ext>
            </a:extLst>
          </p:cNvPr>
          <p:cNvSpPr/>
          <p:nvPr userDrawn="1"/>
        </p:nvSpPr>
        <p:spPr>
          <a:xfrm>
            <a:off x="6688893" y="2609564"/>
            <a:ext cx="1347567" cy="1347564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8881AB8-164C-BB40-8ECD-185F95C67BA7}"/>
              </a:ext>
            </a:extLst>
          </p:cNvPr>
          <p:cNvSpPr/>
          <p:nvPr userDrawn="1"/>
        </p:nvSpPr>
        <p:spPr>
          <a:xfrm>
            <a:off x="6798696" y="2719367"/>
            <a:ext cx="1127961" cy="112795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432A4AE-855C-F14A-ADAC-1BAA45AB3CCB}"/>
              </a:ext>
            </a:extLst>
          </p:cNvPr>
          <p:cNvSpPr/>
          <p:nvPr userDrawn="1"/>
        </p:nvSpPr>
        <p:spPr>
          <a:xfrm>
            <a:off x="2116892" y="2609564"/>
            <a:ext cx="1347567" cy="1347564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A877F69-EF8B-4E41-B0B9-39333B7ED94D}"/>
              </a:ext>
            </a:extLst>
          </p:cNvPr>
          <p:cNvSpPr/>
          <p:nvPr userDrawn="1"/>
        </p:nvSpPr>
        <p:spPr>
          <a:xfrm>
            <a:off x="2226695" y="2719367"/>
            <a:ext cx="1127961" cy="1127958"/>
          </a:xfrm>
          <a:prstGeom prst="ellipse">
            <a:avLst/>
          </a:prstGeom>
          <a:solidFill>
            <a:srgbClr val="005B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77E4114-A822-5248-912F-129293B3964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2465039" y="2962111"/>
            <a:ext cx="651273" cy="64247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0D010D3F-18A7-BB43-A647-BA3CC8E60A7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037040" y="2962111"/>
            <a:ext cx="651273" cy="64247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DBB55CA0-3E24-4C49-B639-D6B9867F7552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1078625" y="4199871"/>
            <a:ext cx="3424102" cy="171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3BA0E196-B048-6B44-93A0-7834BC61D3EF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5650625" y="4199870"/>
            <a:ext cx="3424102" cy="171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4DE3C32E-0670-483D-2550-3C5CA81166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96F97219-070B-D11E-8EDB-E0AE46983273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A94842E-A5AD-ACC8-389D-87077A447AC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214E89A4-4A9B-97EF-9367-A2147E1D29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18" name="Datumsplatzhalter 3">
            <a:extLst>
              <a:ext uri="{FF2B5EF4-FFF2-40B4-BE49-F238E27FC236}">
                <a16:creationId xmlns:a16="http://schemas.microsoft.com/office/drawing/2014/main" id="{EF39BA8A-DF27-1B4E-BBB5-EA5833B3F2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9178881D-39C3-498D-AF7B-C2A06DF4561C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A34D6435-696D-C14E-A572-66881FAF71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24" name="Foliennummernplatzhalter 5">
            <a:extLst>
              <a:ext uri="{FF2B5EF4-FFF2-40B4-BE49-F238E27FC236}">
                <a16:creationId xmlns:a16="http://schemas.microsoft.com/office/drawing/2014/main" id="{7762FD86-F31D-5041-BED9-F3CD45C61B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440213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3_Ikony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bgerundetes Rechteck 23">
            <a:extLst>
              <a:ext uri="{FF2B5EF4-FFF2-40B4-BE49-F238E27FC236}">
                <a16:creationId xmlns:a16="http://schemas.microsoft.com/office/drawing/2014/main" id="{244C6FA8-9725-9442-A37F-928D399C04CD}"/>
              </a:ext>
            </a:extLst>
          </p:cNvPr>
          <p:cNvSpPr/>
          <p:nvPr userDrawn="1"/>
        </p:nvSpPr>
        <p:spPr>
          <a:xfrm>
            <a:off x="6351757" y="1700213"/>
            <a:ext cx="5439600" cy="4551362"/>
          </a:xfrm>
          <a:prstGeom prst="roundRect">
            <a:avLst>
              <a:gd name="adj" fmla="val 306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Abgerundetes Rechteck 24">
            <a:extLst>
              <a:ext uri="{FF2B5EF4-FFF2-40B4-BE49-F238E27FC236}">
                <a16:creationId xmlns:a16="http://schemas.microsoft.com/office/drawing/2014/main" id="{92366561-52E1-2246-A5BA-799A9E829CD6}"/>
              </a:ext>
            </a:extLst>
          </p:cNvPr>
          <p:cNvSpPr/>
          <p:nvPr userDrawn="1"/>
        </p:nvSpPr>
        <p:spPr>
          <a:xfrm>
            <a:off x="401172" y="1700213"/>
            <a:ext cx="5439600" cy="4551362"/>
          </a:xfrm>
          <a:prstGeom prst="roundRect">
            <a:avLst>
              <a:gd name="adj" fmla="val 306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C747F52-DBA7-AB43-8737-8DDFA1E8E775}"/>
              </a:ext>
            </a:extLst>
          </p:cNvPr>
          <p:cNvSpPr/>
          <p:nvPr/>
        </p:nvSpPr>
        <p:spPr>
          <a:xfrm>
            <a:off x="6698842" y="2162881"/>
            <a:ext cx="656028" cy="656026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2090101-B0C0-F944-806F-8255455037A0}"/>
              </a:ext>
            </a:extLst>
          </p:cNvPr>
          <p:cNvSpPr/>
          <p:nvPr/>
        </p:nvSpPr>
        <p:spPr>
          <a:xfrm>
            <a:off x="6752297" y="2216336"/>
            <a:ext cx="549119" cy="5491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7C39B201-8DCF-3740-9743-22D89C9606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802798" y="2269864"/>
            <a:ext cx="448117" cy="44206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EA634FDE-27DD-E946-B2EF-6A586D7B0863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25014" y="3154680"/>
            <a:ext cx="4619669" cy="27540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495273FE-2E87-1247-A490-3B0F42572BB4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747319" y="3154680"/>
            <a:ext cx="4619668" cy="27540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CAD07A0-CFA8-2C4A-A9DF-B41783E2B72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1613577" y="2265452"/>
            <a:ext cx="3831106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Hasło</a:t>
            </a:r>
            <a:endParaRPr lang="de-AT" dirty="0"/>
          </a:p>
          <a:p>
            <a:pPr lvl="0"/>
            <a:r>
              <a:rPr lang="pl-PL" dirty="0"/>
              <a:t>Hasło</a:t>
            </a:r>
            <a:endParaRPr lang="de-AT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F5346DB-E03A-1148-93B4-E867A632FC1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7535881" y="2265452"/>
            <a:ext cx="3831106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Hasło</a:t>
            </a:r>
            <a:endParaRPr lang="de-AT" dirty="0"/>
          </a:p>
          <a:p>
            <a:pPr lvl="0"/>
            <a:r>
              <a:rPr lang="pl-PL" dirty="0"/>
              <a:t>Hasło</a:t>
            </a:r>
            <a:endParaRPr lang="de-AT" dirty="0"/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DC2E4DEE-56A4-A657-8E3E-D7441C9321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33" name="Gerade Verbindung 32">
            <a:extLst>
              <a:ext uri="{FF2B5EF4-FFF2-40B4-BE49-F238E27FC236}">
                <a16:creationId xmlns:a16="http://schemas.microsoft.com/office/drawing/2014/main" id="{13E325B2-CE08-F913-8FD0-9CCCA4736EC1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26541687-5177-34E5-B2B9-2E25FE422C4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D39BD9F0-EC8B-1C6F-BDC9-EAA5D8DFE2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26" name="Datumsplatzhalter 3">
            <a:extLst>
              <a:ext uri="{FF2B5EF4-FFF2-40B4-BE49-F238E27FC236}">
                <a16:creationId xmlns:a16="http://schemas.microsoft.com/office/drawing/2014/main" id="{0F83D371-61EA-C049-BBC8-DB8AF4E08A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9B2697F3-26B6-4F02-B7B6-DA26F44FABBE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5142F970-3D88-0E41-A7B8-46E0ED09D1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E401DCE6-D342-B64E-AEEA-31E3F084CE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2" name="Oval 19">
            <a:extLst>
              <a:ext uri="{FF2B5EF4-FFF2-40B4-BE49-F238E27FC236}">
                <a16:creationId xmlns:a16="http://schemas.microsoft.com/office/drawing/2014/main" id="{6132CEFA-D451-E4B6-34EB-BC995F2A48CD}"/>
              </a:ext>
            </a:extLst>
          </p:cNvPr>
          <p:cNvSpPr/>
          <p:nvPr userDrawn="1"/>
        </p:nvSpPr>
        <p:spPr>
          <a:xfrm>
            <a:off x="784006" y="2158469"/>
            <a:ext cx="656028" cy="656026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val 20">
            <a:extLst>
              <a:ext uri="{FF2B5EF4-FFF2-40B4-BE49-F238E27FC236}">
                <a16:creationId xmlns:a16="http://schemas.microsoft.com/office/drawing/2014/main" id="{83974321-84E7-7295-DA14-EE801EF40B75}"/>
              </a:ext>
            </a:extLst>
          </p:cNvPr>
          <p:cNvSpPr/>
          <p:nvPr userDrawn="1"/>
        </p:nvSpPr>
        <p:spPr>
          <a:xfrm>
            <a:off x="837461" y="2211924"/>
            <a:ext cx="549119" cy="5491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Bildplatzhalter 4">
            <a:extLst>
              <a:ext uri="{FF2B5EF4-FFF2-40B4-BE49-F238E27FC236}">
                <a16:creationId xmlns:a16="http://schemas.microsoft.com/office/drawing/2014/main" id="{45880D2B-A074-6109-671B-99665B4B012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87962" y="2265452"/>
            <a:ext cx="448117" cy="44206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414762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4_Ikony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ihandform 28">
            <a:extLst>
              <a:ext uri="{FF2B5EF4-FFF2-40B4-BE49-F238E27FC236}">
                <a16:creationId xmlns:a16="http://schemas.microsoft.com/office/drawing/2014/main" id="{96AC26B5-C7F6-0740-B749-527FA3307F1B}"/>
              </a:ext>
            </a:extLst>
          </p:cNvPr>
          <p:cNvSpPr/>
          <p:nvPr userDrawn="1"/>
        </p:nvSpPr>
        <p:spPr>
          <a:xfrm>
            <a:off x="0" y="2188382"/>
            <a:ext cx="10481849" cy="4067175"/>
          </a:xfrm>
          <a:custGeom>
            <a:avLst/>
            <a:gdLst>
              <a:gd name="connsiteX0" fmla="*/ 0 w 10481849"/>
              <a:gd name="connsiteY0" fmla="*/ 0 h 4067175"/>
              <a:gd name="connsiteX1" fmla="*/ 10362843 w 10481849"/>
              <a:gd name="connsiteY1" fmla="*/ 0 h 4067175"/>
              <a:gd name="connsiteX2" fmla="*/ 10481849 w 10481849"/>
              <a:gd name="connsiteY2" fmla="*/ 119006 h 4067175"/>
              <a:gd name="connsiteX3" fmla="*/ 10481849 w 10481849"/>
              <a:gd name="connsiteY3" fmla="*/ 3948169 h 4067175"/>
              <a:gd name="connsiteX4" fmla="*/ 10362843 w 10481849"/>
              <a:gd name="connsiteY4" fmla="*/ 4067175 h 4067175"/>
              <a:gd name="connsiteX5" fmla="*/ 0 w 10481849"/>
              <a:gd name="connsiteY5" fmla="*/ 4067175 h 406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1849" h="4067175">
                <a:moveTo>
                  <a:pt x="0" y="0"/>
                </a:moveTo>
                <a:lnTo>
                  <a:pt x="10362843" y="0"/>
                </a:lnTo>
                <a:cubicBezTo>
                  <a:pt x="10428568" y="0"/>
                  <a:pt x="10481849" y="53281"/>
                  <a:pt x="10481849" y="119006"/>
                </a:cubicBezTo>
                <a:lnTo>
                  <a:pt x="10481849" y="3948169"/>
                </a:lnTo>
                <a:cubicBezTo>
                  <a:pt x="10481849" y="4013894"/>
                  <a:pt x="10428568" y="4067175"/>
                  <a:pt x="10362843" y="4067175"/>
                </a:cubicBezTo>
                <a:lnTo>
                  <a:pt x="0" y="406717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DB1B470-E202-C742-B075-8D1933B3332D}"/>
              </a:ext>
            </a:extLst>
          </p:cNvPr>
          <p:cNvSpPr/>
          <p:nvPr userDrawn="1"/>
        </p:nvSpPr>
        <p:spPr>
          <a:xfrm>
            <a:off x="4564568" y="2609564"/>
            <a:ext cx="1347567" cy="1347564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8881AB8-164C-BB40-8ECD-185F95C67BA7}"/>
              </a:ext>
            </a:extLst>
          </p:cNvPr>
          <p:cNvSpPr/>
          <p:nvPr userDrawn="1"/>
        </p:nvSpPr>
        <p:spPr>
          <a:xfrm>
            <a:off x="4674371" y="2719367"/>
            <a:ext cx="1127961" cy="112795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D0F53CA-3E78-B04F-A4CE-8C3986A87350}"/>
              </a:ext>
            </a:extLst>
          </p:cNvPr>
          <p:cNvSpPr/>
          <p:nvPr userDrawn="1"/>
        </p:nvSpPr>
        <p:spPr>
          <a:xfrm>
            <a:off x="7969893" y="2609564"/>
            <a:ext cx="1347567" cy="1347564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944605A-0A74-A64B-8DE3-E4ABBCBAB532}"/>
              </a:ext>
            </a:extLst>
          </p:cNvPr>
          <p:cNvSpPr/>
          <p:nvPr userDrawn="1"/>
        </p:nvSpPr>
        <p:spPr>
          <a:xfrm>
            <a:off x="8079696" y="2719367"/>
            <a:ext cx="1127961" cy="112795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432A4AE-855C-F14A-ADAC-1BAA45AB3CCB}"/>
              </a:ext>
            </a:extLst>
          </p:cNvPr>
          <p:cNvSpPr/>
          <p:nvPr userDrawn="1"/>
        </p:nvSpPr>
        <p:spPr>
          <a:xfrm>
            <a:off x="1159243" y="2609564"/>
            <a:ext cx="1347567" cy="1347564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A877F69-EF8B-4E41-B0B9-39333B7ED94D}"/>
              </a:ext>
            </a:extLst>
          </p:cNvPr>
          <p:cNvSpPr/>
          <p:nvPr userDrawn="1"/>
        </p:nvSpPr>
        <p:spPr>
          <a:xfrm>
            <a:off x="1269046" y="2719367"/>
            <a:ext cx="1127961" cy="1127958"/>
          </a:xfrm>
          <a:prstGeom prst="ellipse">
            <a:avLst/>
          </a:prstGeom>
          <a:solidFill>
            <a:srgbClr val="005B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77E4114-A822-5248-912F-129293B3964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507390" y="2962111"/>
            <a:ext cx="651273" cy="64247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0D010D3F-18A7-BB43-A647-BA3CC8E60A7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912715" y="2962111"/>
            <a:ext cx="651273" cy="64247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marL="0" marR="0" lvl="0" indent="0" algn="ct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Ikona</a:t>
            </a:r>
            <a:endParaRPr lang="de-AT" dirty="0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9792A870-2788-5145-B66A-CAF26789220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318040" y="2962111"/>
            <a:ext cx="651273" cy="64247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marL="0" marR="0" lvl="0" indent="0" algn="ct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Ikona</a:t>
            </a:r>
            <a:endParaRPr lang="de-AT" dirty="0"/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DBB55CA0-3E24-4C49-B639-D6B9867F7552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677329" y="4199872"/>
            <a:ext cx="2311396" cy="15852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3BA0E196-B048-6B44-93A0-7834BC61D3EF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4082653" y="4199871"/>
            <a:ext cx="2311396" cy="15852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5B0D2639-96D6-0841-89B4-C806A9C1E076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7487978" y="4199870"/>
            <a:ext cx="2311396" cy="15852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4DE3C32E-0670-483D-2550-3C5CA81166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96F97219-070B-D11E-8EDB-E0AE46983273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A94842E-A5AD-ACC8-389D-87077A447AC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214E89A4-4A9B-97EF-9367-A2147E1D29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25" name="Datumsplatzhalter 3">
            <a:extLst>
              <a:ext uri="{FF2B5EF4-FFF2-40B4-BE49-F238E27FC236}">
                <a16:creationId xmlns:a16="http://schemas.microsoft.com/office/drawing/2014/main" id="{A6DE69C2-27DD-1240-ABC8-4422C1156D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D2279ABD-527C-43E4-B981-2C908FB6AE60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822A560B-259C-FA42-A2D0-203DC1BD0B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27" name="Foliennummernplatzhalter 5">
            <a:extLst>
              <a:ext uri="{FF2B5EF4-FFF2-40B4-BE49-F238E27FC236}">
                <a16:creationId xmlns:a16="http://schemas.microsoft.com/office/drawing/2014/main" id="{FCC8FCC2-E7C7-184B-994F-3EE6779B7F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763729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5_Ikony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30EFC01F-74AE-2542-84AE-C4135942E2E3}"/>
              </a:ext>
            </a:extLst>
          </p:cNvPr>
          <p:cNvSpPr/>
          <p:nvPr userDrawn="1"/>
        </p:nvSpPr>
        <p:spPr>
          <a:xfrm>
            <a:off x="8116770" y="1700213"/>
            <a:ext cx="3675600" cy="4551362"/>
          </a:xfrm>
          <a:prstGeom prst="roundRect">
            <a:avLst>
              <a:gd name="adj" fmla="val 306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63CCD3ED-1888-B04E-B419-DB965F4C3E19}"/>
              </a:ext>
            </a:extLst>
          </p:cNvPr>
          <p:cNvSpPr/>
          <p:nvPr userDrawn="1"/>
        </p:nvSpPr>
        <p:spPr>
          <a:xfrm>
            <a:off x="4258971" y="1700213"/>
            <a:ext cx="3675600" cy="4551362"/>
          </a:xfrm>
          <a:prstGeom prst="roundRect">
            <a:avLst>
              <a:gd name="adj" fmla="val 306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52AD1895-94C7-2B46-9A42-4C94A98196B5}"/>
              </a:ext>
            </a:extLst>
          </p:cNvPr>
          <p:cNvSpPr/>
          <p:nvPr userDrawn="1"/>
        </p:nvSpPr>
        <p:spPr>
          <a:xfrm>
            <a:off x="401172" y="1700213"/>
            <a:ext cx="3675600" cy="4551362"/>
          </a:xfrm>
          <a:prstGeom prst="roundRect">
            <a:avLst>
              <a:gd name="adj" fmla="val 306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9E7603C-A0D4-A044-8A74-C512C2CC4D99}"/>
              </a:ext>
            </a:extLst>
          </p:cNvPr>
          <p:cNvSpPr/>
          <p:nvPr/>
        </p:nvSpPr>
        <p:spPr>
          <a:xfrm>
            <a:off x="4604914" y="2163707"/>
            <a:ext cx="656028" cy="656026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85C1E24-F9EC-7845-8289-D46C2B8902D4}"/>
              </a:ext>
            </a:extLst>
          </p:cNvPr>
          <p:cNvSpPr/>
          <p:nvPr/>
        </p:nvSpPr>
        <p:spPr>
          <a:xfrm>
            <a:off x="4658369" y="2217162"/>
            <a:ext cx="549119" cy="5491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913F0FC4-C75B-3E41-9DA5-D344B5B89CDC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470318" y="2266278"/>
            <a:ext cx="2221472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Hasło</a:t>
            </a:r>
            <a:endParaRPr lang="de-AT" dirty="0"/>
          </a:p>
          <a:p>
            <a:pPr lvl="0"/>
            <a:r>
              <a:rPr lang="pl-PL" dirty="0"/>
              <a:t>Hasło</a:t>
            </a:r>
            <a:endParaRPr lang="de-AT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34BB6AD1-A01E-4E41-9081-6FCFD0897D81}"/>
              </a:ext>
            </a:extLst>
          </p:cNvPr>
          <p:cNvSpPr/>
          <p:nvPr/>
        </p:nvSpPr>
        <p:spPr>
          <a:xfrm>
            <a:off x="8462713" y="2163707"/>
            <a:ext cx="656028" cy="656026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0480935-FA85-324B-8716-C6AC57577661}"/>
              </a:ext>
            </a:extLst>
          </p:cNvPr>
          <p:cNvSpPr/>
          <p:nvPr/>
        </p:nvSpPr>
        <p:spPr>
          <a:xfrm>
            <a:off x="8516168" y="2217162"/>
            <a:ext cx="549119" cy="5491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84A11357-2AA2-DD48-927B-BA576D7182C7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25015" y="3037487"/>
            <a:ext cx="3010035" cy="28712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F1D2D54B-5829-7344-8812-6318B1B23D04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1613578" y="2266278"/>
            <a:ext cx="2221472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Hasło</a:t>
            </a:r>
            <a:endParaRPr lang="de-AT" dirty="0"/>
          </a:p>
          <a:p>
            <a:pPr lvl="0"/>
            <a:r>
              <a:rPr lang="pl-PL" dirty="0"/>
              <a:t>Hasło</a:t>
            </a:r>
            <a:endParaRPr lang="de-AT" dirty="0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AE1EAE31-5B86-4C4E-994F-609A3CA4A61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08870" y="2270690"/>
            <a:ext cx="448117" cy="44206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FEE863F5-F942-A144-9041-F3F6C293F4BC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681755" y="3037487"/>
            <a:ext cx="3010035" cy="28712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59E3FB6C-7BF0-B949-9AE4-4149FFCFC78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566669" y="2270690"/>
            <a:ext cx="448117" cy="44206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EAE349A4-F079-1749-9EBD-7FB103650316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539554" y="3037487"/>
            <a:ext cx="3010035" cy="28712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D92569B3-EA9F-9043-9B26-24CB3CA2B00B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328117" y="2266278"/>
            <a:ext cx="2221472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Hasło</a:t>
            </a:r>
            <a:endParaRPr lang="de-AT" dirty="0"/>
          </a:p>
          <a:p>
            <a:pPr lvl="0"/>
            <a:r>
              <a:rPr lang="pl-PL" dirty="0"/>
              <a:t>Hasło</a:t>
            </a:r>
            <a:endParaRPr lang="de-AT" dirty="0"/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8F769DE6-6052-64C7-9E7A-93537C291D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39" name="Gerade Verbindung 38">
            <a:extLst>
              <a:ext uri="{FF2B5EF4-FFF2-40B4-BE49-F238E27FC236}">
                <a16:creationId xmlns:a16="http://schemas.microsoft.com/office/drawing/2014/main" id="{8C4DD662-F79A-355E-BF0C-74D55DC0165C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5C879F9D-7E5D-5A48-F548-7C9434FAC4E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42" name="Grafik 41">
            <a:extLst>
              <a:ext uri="{FF2B5EF4-FFF2-40B4-BE49-F238E27FC236}">
                <a16:creationId xmlns:a16="http://schemas.microsoft.com/office/drawing/2014/main" id="{49B60083-DCF8-F9C1-1295-AC96908A0E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29" name="Datumsplatzhalter 3">
            <a:extLst>
              <a:ext uri="{FF2B5EF4-FFF2-40B4-BE49-F238E27FC236}">
                <a16:creationId xmlns:a16="http://schemas.microsoft.com/office/drawing/2014/main" id="{568F5546-8B97-E64C-9ED9-0D14BC423C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F3F0D44F-E440-4668-8854-72FADB8653B4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33" name="Fußzeilenplatzhalter 4">
            <a:extLst>
              <a:ext uri="{FF2B5EF4-FFF2-40B4-BE49-F238E27FC236}">
                <a16:creationId xmlns:a16="http://schemas.microsoft.com/office/drawing/2014/main" id="{9D1BE60D-BB44-E44E-AA14-3667EA6B5C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34" name="Foliennummernplatzhalter 5">
            <a:extLst>
              <a:ext uri="{FF2B5EF4-FFF2-40B4-BE49-F238E27FC236}">
                <a16:creationId xmlns:a16="http://schemas.microsoft.com/office/drawing/2014/main" id="{08C4F841-81C0-FC48-BE51-D353B804E7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2" name="Oval 23">
            <a:extLst>
              <a:ext uri="{FF2B5EF4-FFF2-40B4-BE49-F238E27FC236}">
                <a16:creationId xmlns:a16="http://schemas.microsoft.com/office/drawing/2014/main" id="{6E4AFB9D-38DD-EEE3-55BD-4E91716EA144}"/>
              </a:ext>
            </a:extLst>
          </p:cNvPr>
          <p:cNvSpPr/>
          <p:nvPr userDrawn="1"/>
        </p:nvSpPr>
        <p:spPr>
          <a:xfrm>
            <a:off x="784578" y="2159295"/>
            <a:ext cx="656028" cy="656026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val 24">
            <a:extLst>
              <a:ext uri="{FF2B5EF4-FFF2-40B4-BE49-F238E27FC236}">
                <a16:creationId xmlns:a16="http://schemas.microsoft.com/office/drawing/2014/main" id="{E88EDD7F-76D5-44E8-4D91-49D51E345515}"/>
              </a:ext>
            </a:extLst>
          </p:cNvPr>
          <p:cNvSpPr/>
          <p:nvPr userDrawn="1"/>
        </p:nvSpPr>
        <p:spPr>
          <a:xfrm>
            <a:off x="838033" y="2212750"/>
            <a:ext cx="549119" cy="5491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Bildplatzhalter 4">
            <a:extLst>
              <a:ext uri="{FF2B5EF4-FFF2-40B4-BE49-F238E27FC236}">
                <a16:creationId xmlns:a16="http://schemas.microsoft.com/office/drawing/2014/main" id="{298785F3-26AB-F31A-9572-888EE079933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88534" y="2266278"/>
            <a:ext cx="448117" cy="44206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495750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6_Ikony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E0F618B5-F9DA-C44F-8ED5-0201D6AA4C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2121640"/>
            <a:ext cx="3488071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D36F44E4-9DA9-294C-8081-39D1B9E5B449}"/>
              </a:ext>
            </a:extLst>
          </p:cNvPr>
          <p:cNvSpPr/>
          <p:nvPr userDrawn="1"/>
        </p:nvSpPr>
        <p:spPr>
          <a:xfrm>
            <a:off x="4279445" y="1729600"/>
            <a:ext cx="2635065" cy="4525959"/>
          </a:xfrm>
          <a:prstGeom prst="roundRect">
            <a:avLst>
              <a:gd name="adj" fmla="val 431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AD16272F-9C31-2B47-B45A-245CD81DB4F6}"/>
              </a:ext>
            </a:extLst>
          </p:cNvPr>
          <p:cNvSpPr/>
          <p:nvPr userDrawn="1"/>
        </p:nvSpPr>
        <p:spPr>
          <a:xfrm>
            <a:off x="9166041" y="1729600"/>
            <a:ext cx="2633186" cy="4525959"/>
          </a:xfrm>
          <a:prstGeom prst="roundRect">
            <a:avLst>
              <a:gd name="adj" fmla="val 431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36B843D3-C93C-9943-8DAF-7F3A3F9635FB}"/>
              </a:ext>
            </a:extLst>
          </p:cNvPr>
          <p:cNvSpPr/>
          <p:nvPr userDrawn="1"/>
        </p:nvSpPr>
        <p:spPr>
          <a:xfrm>
            <a:off x="6781296" y="1729600"/>
            <a:ext cx="2505971" cy="4525959"/>
          </a:xfrm>
          <a:prstGeom prst="roundRect">
            <a:avLst>
              <a:gd name="adj" fmla="val 0"/>
            </a:avLst>
          </a:prstGeom>
          <a:solidFill>
            <a:srgbClr val="97BC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E909804-90D7-5A4D-A8FA-EA0462D6543B}"/>
              </a:ext>
            </a:extLst>
          </p:cNvPr>
          <p:cNvSpPr/>
          <p:nvPr userDrawn="1"/>
        </p:nvSpPr>
        <p:spPr>
          <a:xfrm>
            <a:off x="5204638" y="2121640"/>
            <a:ext cx="656028" cy="656026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8305181-BFF0-AF4E-B86F-54D82111DD38}"/>
              </a:ext>
            </a:extLst>
          </p:cNvPr>
          <p:cNvSpPr/>
          <p:nvPr userDrawn="1"/>
        </p:nvSpPr>
        <p:spPr>
          <a:xfrm>
            <a:off x="5258093" y="2175095"/>
            <a:ext cx="549119" cy="5491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25248AD5-E29F-1143-B08D-0A43321E86F1}"/>
              </a:ext>
            </a:extLst>
          </p:cNvPr>
          <p:cNvSpPr/>
          <p:nvPr userDrawn="1"/>
        </p:nvSpPr>
        <p:spPr>
          <a:xfrm>
            <a:off x="10226686" y="2121640"/>
            <a:ext cx="656028" cy="656026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3AEF312-40CD-CE48-995B-C5309B23C6F4}"/>
              </a:ext>
            </a:extLst>
          </p:cNvPr>
          <p:cNvSpPr/>
          <p:nvPr userDrawn="1"/>
        </p:nvSpPr>
        <p:spPr>
          <a:xfrm>
            <a:off x="10280141" y="2175095"/>
            <a:ext cx="549119" cy="5491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Dreieck 23">
            <a:extLst>
              <a:ext uri="{FF2B5EF4-FFF2-40B4-BE49-F238E27FC236}">
                <a16:creationId xmlns:a16="http://schemas.microsoft.com/office/drawing/2014/main" id="{88347782-5135-8842-A314-8E7787507BD6}"/>
              </a:ext>
            </a:extLst>
          </p:cNvPr>
          <p:cNvSpPr/>
          <p:nvPr userDrawn="1"/>
        </p:nvSpPr>
        <p:spPr>
          <a:xfrm rot="5400000">
            <a:off x="6704418" y="3911287"/>
            <a:ext cx="314908" cy="162584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Dreieck 24">
            <a:extLst>
              <a:ext uri="{FF2B5EF4-FFF2-40B4-BE49-F238E27FC236}">
                <a16:creationId xmlns:a16="http://schemas.microsoft.com/office/drawing/2014/main" id="{E29E88ED-B0DD-094B-ADD3-AB5574A6585C}"/>
              </a:ext>
            </a:extLst>
          </p:cNvPr>
          <p:cNvSpPr/>
          <p:nvPr userDrawn="1"/>
        </p:nvSpPr>
        <p:spPr>
          <a:xfrm rot="16200000">
            <a:off x="9060025" y="3915270"/>
            <a:ext cx="314908" cy="154619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00335449-AFD2-2B40-A9E9-ACC1116CD009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400237" y="3498109"/>
            <a:ext cx="3321002" cy="23391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 </a:t>
            </a:r>
            <a:endParaRPr lang="de-AT" dirty="0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F53FDE8C-72BB-0C46-A441-202591DAB4D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308594" y="2228623"/>
            <a:ext cx="448117" cy="442061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C69047AB-9F89-AD42-91E7-AD82E365F55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0330642" y="2228623"/>
            <a:ext cx="448117" cy="442061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marL="0" marR="0" lvl="0" indent="0" algn="ct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Ikona</a:t>
            </a:r>
            <a:endParaRPr lang="de-AT" dirty="0"/>
          </a:p>
        </p:txBody>
      </p:sp>
      <p:sp>
        <p:nvSpPr>
          <p:cNvPr id="31" name="Inhaltsplatzhalter 2">
            <a:extLst>
              <a:ext uri="{FF2B5EF4-FFF2-40B4-BE49-F238E27FC236}">
                <a16:creationId xmlns:a16="http://schemas.microsoft.com/office/drawing/2014/main" id="{A8979F66-66A2-8B49-BF67-0BC7C445223F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4634187" y="3498109"/>
            <a:ext cx="1796930" cy="23391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05984486-9EC6-D749-97EC-3A008E51BF84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7139142" y="3498109"/>
            <a:ext cx="1796930" cy="23391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07787C83-C631-E74B-BA2D-129350051D6B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9656235" y="3498109"/>
            <a:ext cx="1796930" cy="23391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</p:txBody>
      </p: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1497FEE2-CC14-19ED-D148-870573398AFC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1EF6FB6D-4E54-4E10-5997-2D926BE9AC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id="{6E71A098-285E-9718-B28E-3566B5FC8D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34" name="Datumsplatzhalter 3">
            <a:extLst>
              <a:ext uri="{FF2B5EF4-FFF2-40B4-BE49-F238E27FC236}">
                <a16:creationId xmlns:a16="http://schemas.microsoft.com/office/drawing/2014/main" id="{2703EDBC-F233-1447-9CC8-DE7F310B0A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2744C8CE-4C7F-4FC1-BD1F-172C3C16085E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35" name="Fußzeilenplatzhalter 4">
            <a:extLst>
              <a:ext uri="{FF2B5EF4-FFF2-40B4-BE49-F238E27FC236}">
                <a16:creationId xmlns:a16="http://schemas.microsoft.com/office/drawing/2014/main" id="{F274BB32-92DC-8B4E-BCA9-46006A1AB1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36" name="Foliennummernplatzhalter 5">
            <a:extLst>
              <a:ext uri="{FF2B5EF4-FFF2-40B4-BE49-F238E27FC236}">
                <a16:creationId xmlns:a16="http://schemas.microsoft.com/office/drawing/2014/main" id="{BD16DF66-9666-0745-A8FD-5BCFEC800F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41" name="Oval 15">
            <a:extLst>
              <a:ext uri="{FF2B5EF4-FFF2-40B4-BE49-F238E27FC236}">
                <a16:creationId xmlns:a16="http://schemas.microsoft.com/office/drawing/2014/main" id="{14D4668B-C8D5-42ED-91B7-7EEDD4EF237F}"/>
              </a:ext>
            </a:extLst>
          </p:cNvPr>
          <p:cNvSpPr/>
          <p:nvPr userDrawn="1"/>
        </p:nvSpPr>
        <p:spPr>
          <a:xfrm>
            <a:off x="7712261" y="2121640"/>
            <a:ext cx="656028" cy="656026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Oval 16">
            <a:extLst>
              <a:ext uri="{FF2B5EF4-FFF2-40B4-BE49-F238E27FC236}">
                <a16:creationId xmlns:a16="http://schemas.microsoft.com/office/drawing/2014/main" id="{2B02D2D5-3DF6-4325-A8FD-C69DCC88F666}"/>
              </a:ext>
            </a:extLst>
          </p:cNvPr>
          <p:cNvSpPr/>
          <p:nvPr userDrawn="1"/>
        </p:nvSpPr>
        <p:spPr>
          <a:xfrm>
            <a:off x="7765716" y="2175095"/>
            <a:ext cx="549119" cy="5491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Bildplatzhalter 4">
            <a:extLst>
              <a:ext uri="{FF2B5EF4-FFF2-40B4-BE49-F238E27FC236}">
                <a16:creationId xmlns:a16="http://schemas.microsoft.com/office/drawing/2014/main" id="{D6E22ABD-4D72-4048-8A34-AF1797B9B37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810445" y="2228623"/>
            <a:ext cx="448117" cy="442061"/>
          </a:xfrm>
          <a:prstGeom prst="rect">
            <a:avLst/>
          </a:prstGeom>
          <a:ln>
            <a:solidFill>
              <a:srgbClr val="8DA6D6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marL="0" marR="0" lvl="0" indent="0" algn="ct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Ikona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081249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_Agenda + podpunk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Freihandform 49">
            <a:extLst>
              <a:ext uri="{FF2B5EF4-FFF2-40B4-BE49-F238E27FC236}">
                <a16:creationId xmlns:a16="http://schemas.microsoft.com/office/drawing/2014/main" id="{8AA5E7F6-8297-C6D1-47D1-02E6F781D524}"/>
              </a:ext>
            </a:extLst>
          </p:cNvPr>
          <p:cNvSpPr/>
          <p:nvPr userDrawn="1"/>
        </p:nvSpPr>
        <p:spPr>
          <a:xfrm>
            <a:off x="-1" y="2321829"/>
            <a:ext cx="11791951" cy="3932916"/>
          </a:xfrm>
          <a:custGeom>
            <a:avLst/>
            <a:gdLst>
              <a:gd name="connsiteX0" fmla="*/ 0 w 11712576"/>
              <a:gd name="connsiteY0" fmla="*/ 0 h 3932916"/>
              <a:gd name="connsiteX1" fmla="*/ 11589672 w 11712576"/>
              <a:gd name="connsiteY1" fmla="*/ 0 h 3932916"/>
              <a:gd name="connsiteX2" fmla="*/ 11712576 w 11712576"/>
              <a:gd name="connsiteY2" fmla="*/ 122904 h 3932916"/>
              <a:gd name="connsiteX3" fmla="*/ 11712576 w 11712576"/>
              <a:gd name="connsiteY3" fmla="*/ 3810012 h 3932916"/>
              <a:gd name="connsiteX4" fmla="*/ 11589672 w 11712576"/>
              <a:gd name="connsiteY4" fmla="*/ 3932916 h 3932916"/>
              <a:gd name="connsiteX5" fmla="*/ 0 w 11712576"/>
              <a:gd name="connsiteY5" fmla="*/ 3932916 h 3932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12576" h="3932916">
                <a:moveTo>
                  <a:pt x="0" y="0"/>
                </a:moveTo>
                <a:lnTo>
                  <a:pt x="11589672" y="0"/>
                </a:lnTo>
                <a:cubicBezTo>
                  <a:pt x="11657550" y="0"/>
                  <a:pt x="11712576" y="55026"/>
                  <a:pt x="11712576" y="122904"/>
                </a:cubicBezTo>
                <a:lnTo>
                  <a:pt x="11712576" y="3810012"/>
                </a:lnTo>
                <a:cubicBezTo>
                  <a:pt x="11712576" y="3877890"/>
                  <a:pt x="11657550" y="3932916"/>
                  <a:pt x="11589672" y="3932916"/>
                </a:cubicBezTo>
                <a:lnTo>
                  <a:pt x="0" y="393291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Titel 1">
            <a:extLst>
              <a:ext uri="{FF2B5EF4-FFF2-40B4-BE49-F238E27FC236}">
                <a16:creationId xmlns:a16="http://schemas.microsoft.com/office/drawing/2014/main" id="{23688653-9552-DF6F-4EF1-7B9FDC0CEB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3363" y="1234622"/>
            <a:ext cx="10088485" cy="440182"/>
          </a:xfrm>
        </p:spPr>
        <p:txBody>
          <a:bodyPr lIns="0" tIns="0" rIns="0" bIns="0" anchor="t" anchorCtr="0">
            <a:noAutofit/>
          </a:bodyPr>
          <a:lstStyle>
            <a:lvl1pPr>
              <a:defRPr sz="3600" b="1" i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Agenda</a:t>
            </a:r>
          </a:p>
        </p:txBody>
      </p:sp>
      <p:cxnSp>
        <p:nvCxnSpPr>
          <p:cNvPr id="52" name="Gerade Verbindung 51">
            <a:extLst>
              <a:ext uri="{FF2B5EF4-FFF2-40B4-BE49-F238E27FC236}">
                <a16:creationId xmlns:a16="http://schemas.microsoft.com/office/drawing/2014/main" id="{0BB76F49-77AB-0677-67CE-9D599904C32B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A14B6046-099E-38E5-8EB0-2101AFF4173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DBD588FB-35F9-9264-D0A4-888708FEEA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9D5308FB-0DD4-C847-8BE6-5B88B135BFBB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1197997" y="2813255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Pozycja w agencie</a:t>
            </a:r>
            <a:endParaRPr lang="de-AT" dirty="0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409F69DE-57BA-6042-BFAB-4AE8C08C43FC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00050" y="2813256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1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31083986-8038-114D-A254-A83B0626EE2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1197997" y="3257087"/>
            <a:ext cx="3956369" cy="2154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AT"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pis</a:t>
            </a:r>
            <a:endParaRPr lang="de-AT" dirty="0"/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D92AE9DB-16DF-BB47-A6EB-9C9A0C20919B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1197997" y="3920014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Pozycja w agencie</a:t>
            </a:r>
            <a:endParaRPr lang="de-AT" dirty="0"/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D940A534-200E-7241-AB76-D03D6D6BD55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00050" y="3920015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2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0286A701-5815-4842-A90A-02F48703795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1197997" y="4363846"/>
            <a:ext cx="3956369" cy="2154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AT"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/>
              <a:t>Opis</a:t>
            </a:r>
            <a:endParaRPr lang="de-AT" dirty="0"/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B34F019B-0441-6B4C-974A-D77AA8BF40FA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1197997" y="5046463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Pozycja w agencie</a:t>
            </a:r>
            <a:endParaRPr lang="de-AT" dirty="0"/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4D7EB7A2-8FA2-A848-958E-6CDAB78839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00050" y="5046464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3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DBDA4E36-5A34-DC4C-A43D-B81317C05F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1197997" y="5490295"/>
            <a:ext cx="3956369" cy="2154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AT"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pis</a:t>
            </a:r>
            <a:endParaRPr lang="de-AT" dirty="0"/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769FADD5-2CCE-EE41-8E0D-5B4FBD76DE2C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6893947" y="2813255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Pozycja w agencie</a:t>
            </a:r>
            <a:endParaRPr lang="de-AT" dirty="0"/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0E743D98-D071-094D-86EC-51166DFC1F42}"/>
              </a:ext>
            </a:extLst>
          </p:cNvPr>
          <p:cNvSpPr>
            <a:spLocks noGrp="1"/>
          </p:cNvSpPr>
          <p:nvPr>
            <p:ph type="body" idx="37" hasCustomPrompt="1"/>
          </p:nvPr>
        </p:nvSpPr>
        <p:spPr>
          <a:xfrm>
            <a:off x="6096000" y="2813256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4</a:t>
            </a:r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4C97806E-04CE-D144-B4F0-2A4B3B02E565}"/>
              </a:ext>
            </a:extLst>
          </p:cNvPr>
          <p:cNvSpPr>
            <a:spLocks noGrp="1"/>
          </p:cNvSpPr>
          <p:nvPr>
            <p:ph type="body" idx="38" hasCustomPrompt="1"/>
          </p:nvPr>
        </p:nvSpPr>
        <p:spPr>
          <a:xfrm>
            <a:off x="6893947" y="3257087"/>
            <a:ext cx="3956369" cy="2154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AT"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pis</a:t>
            </a:r>
            <a:endParaRPr lang="de-AT" dirty="0"/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C1EA7DAC-7245-774F-94CF-E0BDCB407DB6}"/>
              </a:ext>
            </a:extLst>
          </p:cNvPr>
          <p:cNvSpPr>
            <a:spLocks noGrp="1"/>
          </p:cNvSpPr>
          <p:nvPr>
            <p:ph type="body" idx="39" hasCustomPrompt="1"/>
          </p:nvPr>
        </p:nvSpPr>
        <p:spPr>
          <a:xfrm>
            <a:off x="6893947" y="3920014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Pozycja w agencie</a:t>
            </a:r>
            <a:endParaRPr lang="de-AT" dirty="0"/>
          </a:p>
        </p:txBody>
      </p:sp>
      <p:sp>
        <p:nvSpPr>
          <p:cNvPr id="58" name="Textplatzhalter 2">
            <a:extLst>
              <a:ext uri="{FF2B5EF4-FFF2-40B4-BE49-F238E27FC236}">
                <a16:creationId xmlns:a16="http://schemas.microsoft.com/office/drawing/2014/main" id="{C08AA791-6304-D246-A993-7F1F64C7E491}"/>
              </a:ext>
            </a:extLst>
          </p:cNvPr>
          <p:cNvSpPr>
            <a:spLocks noGrp="1"/>
          </p:cNvSpPr>
          <p:nvPr>
            <p:ph type="body" idx="40" hasCustomPrompt="1"/>
          </p:nvPr>
        </p:nvSpPr>
        <p:spPr>
          <a:xfrm>
            <a:off x="6096000" y="3920015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5</a:t>
            </a:r>
          </a:p>
        </p:txBody>
      </p:sp>
      <p:sp>
        <p:nvSpPr>
          <p:cNvPr id="62" name="Textplatzhalter 2">
            <a:extLst>
              <a:ext uri="{FF2B5EF4-FFF2-40B4-BE49-F238E27FC236}">
                <a16:creationId xmlns:a16="http://schemas.microsoft.com/office/drawing/2014/main" id="{6C86D070-D183-EC4E-A6E5-038759DECFE8}"/>
              </a:ext>
            </a:extLst>
          </p:cNvPr>
          <p:cNvSpPr>
            <a:spLocks noGrp="1"/>
          </p:cNvSpPr>
          <p:nvPr>
            <p:ph type="body" idx="41" hasCustomPrompt="1"/>
          </p:nvPr>
        </p:nvSpPr>
        <p:spPr>
          <a:xfrm>
            <a:off x="6893947" y="4363846"/>
            <a:ext cx="3956369" cy="2154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AT"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pis</a:t>
            </a:r>
            <a:endParaRPr lang="de-AT" dirty="0"/>
          </a:p>
        </p:txBody>
      </p: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06ADDAA2-370E-AB4E-BA79-413A6448400A}"/>
              </a:ext>
            </a:extLst>
          </p:cNvPr>
          <p:cNvSpPr>
            <a:spLocks noGrp="1"/>
          </p:cNvSpPr>
          <p:nvPr>
            <p:ph type="body" idx="42" hasCustomPrompt="1"/>
          </p:nvPr>
        </p:nvSpPr>
        <p:spPr>
          <a:xfrm>
            <a:off x="6893947" y="5046463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Pozycja w agencie</a:t>
            </a:r>
            <a:endParaRPr lang="de-AT" dirty="0"/>
          </a:p>
        </p:txBody>
      </p: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E816D4E7-BBDB-774B-9592-8B61AD99837D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6096000" y="5046464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6</a:t>
            </a:r>
          </a:p>
        </p:txBody>
      </p: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7FB39088-F487-7D4C-9802-A6FE64901667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6893947" y="5490295"/>
            <a:ext cx="3956369" cy="2154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AT"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pis</a:t>
            </a:r>
            <a:endParaRPr lang="de-AT" dirty="0"/>
          </a:p>
        </p:txBody>
      </p:sp>
      <p:sp>
        <p:nvSpPr>
          <p:cNvPr id="75" name="Datumsplatzhalter 3">
            <a:extLst>
              <a:ext uri="{FF2B5EF4-FFF2-40B4-BE49-F238E27FC236}">
                <a16:creationId xmlns:a16="http://schemas.microsoft.com/office/drawing/2014/main" id="{0F432EAF-D6A8-4543-A49E-E4D034F1B3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407A5D07-4E9E-44E5-ACEE-08254732FBD0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76" name="Fußzeilenplatzhalter 4">
            <a:extLst>
              <a:ext uri="{FF2B5EF4-FFF2-40B4-BE49-F238E27FC236}">
                <a16:creationId xmlns:a16="http://schemas.microsoft.com/office/drawing/2014/main" id="{F848E738-D5F5-214D-8A1A-393914B736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77" name="Foliennummernplatzhalter 5">
            <a:extLst>
              <a:ext uri="{FF2B5EF4-FFF2-40B4-BE49-F238E27FC236}">
                <a16:creationId xmlns:a16="http://schemas.microsoft.com/office/drawing/2014/main" id="{28772E9B-A106-B345-8B67-75A1B1A154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1841175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7_Ikony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el 1">
            <a:extLst>
              <a:ext uri="{FF2B5EF4-FFF2-40B4-BE49-F238E27FC236}">
                <a16:creationId xmlns:a16="http://schemas.microsoft.com/office/drawing/2014/main" id="{4DE3C32E-0670-483D-2550-3C5CA81166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96F97219-070B-D11E-8EDB-E0AE46983273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A94842E-A5AD-ACC8-389D-87077A447AC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214E89A4-4A9B-97EF-9367-A2147E1D29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33" name="Datumsplatzhalter 3">
            <a:extLst>
              <a:ext uri="{FF2B5EF4-FFF2-40B4-BE49-F238E27FC236}">
                <a16:creationId xmlns:a16="http://schemas.microsoft.com/office/drawing/2014/main" id="{BDD0CB56-6DC7-2D4A-A2B5-8232593C1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2A0EE247-482B-43B2-AB8D-50BA2CC21AEB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34" name="Fußzeilenplatzhalter 4">
            <a:extLst>
              <a:ext uri="{FF2B5EF4-FFF2-40B4-BE49-F238E27FC236}">
                <a16:creationId xmlns:a16="http://schemas.microsoft.com/office/drawing/2014/main" id="{ADA55C67-F141-3846-BC14-3BD82EC7B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41" name="Foliennummernplatzhalter 5">
            <a:extLst>
              <a:ext uri="{FF2B5EF4-FFF2-40B4-BE49-F238E27FC236}">
                <a16:creationId xmlns:a16="http://schemas.microsoft.com/office/drawing/2014/main" id="{8131B1E1-4C06-A246-B78F-1653CD9FF7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418327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8_Ikony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533CB98D-45A2-C041-9FD1-6CD6E96A1FED}"/>
              </a:ext>
            </a:extLst>
          </p:cNvPr>
          <p:cNvSpPr/>
          <p:nvPr userDrawn="1"/>
        </p:nvSpPr>
        <p:spPr>
          <a:xfrm>
            <a:off x="393363" y="1700213"/>
            <a:ext cx="2463653" cy="4551362"/>
          </a:xfrm>
          <a:prstGeom prst="roundRect">
            <a:avLst>
              <a:gd name="adj" fmla="val 438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594CB974-28E1-2F4B-AB9A-70881D145F9C}"/>
              </a:ext>
            </a:extLst>
          </p:cNvPr>
          <p:cNvSpPr/>
          <p:nvPr userDrawn="1"/>
        </p:nvSpPr>
        <p:spPr>
          <a:xfrm>
            <a:off x="3371675" y="1700213"/>
            <a:ext cx="2463653" cy="4551362"/>
          </a:xfrm>
          <a:prstGeom prst="roundRect">
            <a:avLst>
              <a:gd name="adj" fmla="val 438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7896248E-FE49-6A4E-9013-489797A4A0AC}"/>
              </a:ext>
            </a:extLst>
          </p:cNvPr>
          <p:cNvSpPr/>
          <p:nvPr userDrawn="1"/>
        </p:nvSpPr>
        <p:spPr>
          <a:xfrm>
            <a:off x="6349987" y="1700213"/>
            <a:ext cx="2463653" cy="4551362"/>
          </a:xfrm>
          <a:prstGeom prst="roundRect">
            <a:avLst>
              <a:gd name="adj" fmla="val 438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131C4AED-1F76-F848-89B2-D3B976E87700}"/>
              </a:ext>
            </a:extLst>
          </p:cNvPr>
          <p:cNvSpPr/>
          <p:nvPr userDrawn="1"/>
        </p:nvSpPr>
        <p:spPr>
          <a:xfrm>
            <a:off x="9328298" y="1700213"/>
            <a:ext cx="2463653" cy="4551362"/>
          </a:xfrm>
          <a:prstGeom prst="roundRect">
            <a:avLst>
              <a:gd name="adj" fmla="val 438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191A05D-4034-C443-8BBD-8A5C82441A00}"/>
              </a:ext>
            </a:extLst>
          </p:cNvPr>
          <p:cNvSpPr/>
          <p:nvPr/>
        </p:nvSpPr>
        <p:spPr>
          <a:xfrm>
            <a:off x="638477" y="1792079"/>
            <a:ext cx="656028" cy="656026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6D0B7F5-7017-8C46-8B5C-41278F6BC1BA}"/>
              </a:ext>
            </a:extLst>
          </p:cNvPr>
          <p:cNvSpPr/>
          <p:nvPr/>
        </p:nvSpPr>
        <p:spPr>
          <a:xfrm>
            <a:off x="691932" y="1845534"/>
            <a:ext cx="549119" cy="5491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52A9EE3-8915-EA48-ACA7-F9FD1739EA73}"/>
              </a:ext>
            </a:extLst>
          </p:cNvPr>
          <p:cNvSpPr/>
          <p:nvPr/>
        </p:nvSpPr>
        <p:spPr>
          <a:xfrm>
            <a:off x="3616789" y="1792079"/>
            <a:ext cx="656028" cy="656026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F6383337-024C-2C4F-9F4D-3B53E6DA13BF}"/>
              </a:ext>
            </a:extLst>
          </p:cNvPr>
          <p:cNvSpPr/>
          <p:nvPr/>
        </p:nvSpPr>
        <p:spPr>
          <a:xfrm>
            <a:off x="3670244" y="1845534"/>
            <a:ext cx="549119" cy="5491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EB3A3C8-2044-8F4C-9AFC-A5C6318412A5}"/>
              </a:ext>
            </a:extLst>
          </p:cNvPr>
          <p:cNvSpPr/>
          <p:nvPr/>
        </p:nvSpPr>
        <p:spPr>
          <a:xfrm>
            <a:off x="6595101" y="1792079"/>
            <a:ext cx="656028" cy="656026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D0D7DBA-0AC8-B44B-B0BD-ABA5FC96EE61}"/>
              </a:ext>
            </a:extLst>
          </p:cNvPr>
          <p:cNvSpPr/>
          <p:nvPr/>
        </p:nvSpPr>
        <p:spPr>
          <a:xfrm>
            <a:off x="6648556" y="1845534"/>
            <a:ext cx="549119" cy="5491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8DDDEEF-A831-2B4C-ACFD-4BE0C218C762}"/>
              </a:ext>
            </a:extLst>
          </p:cNvPr>
          <p:cNvSpPr/>
          <p:nvPr/>
        </p:nvSpPr>
        <p:spPr>
          <a:xfrm>
            <a:off x="9573412" y="1792079"/>
            <a:ext cx="656028" cy="656026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8D441EA-25CB-5C40-8675-9B9F08EE40B3}"/>
              </a:ext>
            </a:extLst>
          </p:cNvPr>
          <p:cNvSpPr/>
          <p:nvPr/>
        </p:nvSpPr>
        <p:spPr>
          <a:xfrm>
            <a:off x="9626867" y="1845534"/>
            <a:ext cx="549119" cy="5491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B1E9CD3B-464C-6A4E-A6E5-C6A7B035964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616789" y="2563164"/>
            <a:ext cx="197342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Hasło</a:t>
            </a:r>
            <a:endParaRPr lang="de-AT" dirty="0"/>
          </a:p>
          <a:p>
            <a:pPr lvl="0"/>
            <a:r>
              <a:rPr lang="pl-PL" dirty="0"/>
              <a:t>Hasło</a:t>
            </a:r>
            <a:endParaRPr lang="de-AT" dirty="0"/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B129C2F4-D38D-BF42-9BC7-BBA621DFDD38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9573412" y="2563164"/>
            <a:ext cx="197342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Hasło</a:t>
            </a:r>
            <a:endParaRPr lang="de-AT" dirty="0"/>
          </a:p>
          <a:p>
            <a:pPr lvl="0"/>
            <a:r>
              <a:rPr lang="pl-PL" dirty="0"/>
              <a:t>Hasło</a:t>
            </a:r>
            <a:endParaRPr lang="de-AT" dirty="0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D6D39BD4-6429-9B48-831E-94E8E104546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595101" y="2563164"/>
            <a:ext cx="197342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Hasło</a:t>
            </a:r>
            <a:endParaRPr lang="de-AT" dirty="0"/>
          </a:p>
          <a:p>
            <a:pPr lvl="0"/>
            <a:r>
              <a:rPr lang="pl-PL" dirty="0"/>
              <a:t>Hasło</a:t>
            </a:r>
            <a:endParaRPr lang="de-AT" dirty="0"/>
          </a:p>
        </p:txBody>
      </p: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F3C642BD-118D-504B-95EB-5AA00B19ADB3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6595101" y="3284069"/>
            <a:ext cx="1973425" cy="27842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605E3364-A483-2342-A45B-E59BB3FBBF9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9573412" y="3284069"/>
            <a:ext cx="1973425" cy="27842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34" name="Inhaltsplatzhalter 2">
            <a:extLst>
              <a:ext uri="{FF2B5EF4-FFF2-40B4-BE49-F238E27FC236}">
                <a16:creationId xmlns:a16="http://schemas.microsoft.com/office/drawing/2014/main" id="{28CD9F24-2CE3-4647-AC32-E54F8FDF6A11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3616789" y="3284069"/>
            <a:ext cx="1973425" cy="27842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35" name="Inhaltsplatzhalter 2">
            <a:extLst>
              <a:ext uri="{FF2B5EF4-FFF2-40B4-BE49-F238E27FC236}">
                <a16:creationId xmlns:a16="http://schemas.microsoft.com/office/drawing/2014/main" id="{A9822D4E-4F96-4247-9A66-6E1CB2DD2AC4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638477" y="3284069"/>
            <a:ext cx="1973425" cy="27842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A47F85AD-293E-3C40-807E-29A154A766C0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38477" y="2563164"/>
            <a:ext cx="197342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Hasło</a:t>
            </a:r>
            <a:endParaRPr lang="de-AT" dirty="0"/>
          </a:p>
          <a:p>
            <a:pPr lvl="0"/>
            <a:r>
              <a:rPr lang="pl-PL" dirty="0"/>
              <a:t>Hasło</a:t>
            </a:r>
            <a:endParaRPr lang="de-AT" dirty="0"/>
          </a:p>
        </p:txBody>
      </p:sp>
      <p:sp>
        <p:nvSpPr>
          <p:cNvPr id="37" name="Bildplatzhalter 4">
            <a:extLst>
              <a:ext uri="{FF2B5EF4-FFF2-40B4-BE49-F238E27FC236}">
                <a16:creationId xmlns:a16="http://schemas.microsoft.com/office/drawing/2014/main" id="{6142525A-3A38-5948-88D9-4A8FFA855A7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42432" y="1899062"/>
            <a:ext cx="448117" cy="44206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  <p:sp>
        <p:nvSpPr>
          <p:cNvPr id="38" name="Bildplatzhalter 4">
            <a:extLst>
              <a:ext uri="{FF2B5EF4-FFF2-40B4-BE49-F238E27FC236}">
                <a16:creationId xmlns:a16="http://schemas.microsoft.com/office/drawing/2014/main" id="{CC340E99-7A22-274E-8392-E1845463305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720745" y="1899062"/>
            <a:ext cx="448117" cy="44206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  <p:sp>
        <p:nvSpPr>
          <p:cNvPr id="39" name="Bildplatzhalter 4">
            <a:extLst>
              <a:ext uri="{FF2B5EF4-FFF2-40B4-BE49-F238E27FC236}">
                <a16:creationId xmlns:a16="http://schemas.microsoft.com/office/drawing/2014/main" id="{1AE1E99C-19F8-EF4B-A58B-D4827253E53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699057" y="1899062"/>
            <a:ext cx="448117" cy="44206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  <p:sp>
        <p:nvSpPr>
          <p:cNvPr id="40" name="Bildplatzhalter 4">
            <a:extLst>
              <a:ext uri="{FF2B5EF4-FFF2-40B4-BE49-F238E27FC236}">
                <a16:creationId xmlns:a16="http://schemas.microsoft.com/office/drawing/2014/main" id="{319582CE-6BDE-B04D-B94D-5CFFA3997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677368" y="1899062"/>
            <a:ext cx="448117" cy="44206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  <p:sp>
        <p:nvSpPr>
          <p:cNvPr id="48" name="Titel 1">
            <a:extLst>
              <a:ext uri="{FF2B5EF4-FFF2-40B4-BE49-F238E27FC236}">
                <a16:creationId xmlns:a16="http://schemas.microsoft.com/office/drawing/2014/main" id="{A7D0B770-0D01-6AD6-EE18-4026E9AEA1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49" name="Gerade Verbindung 48">
            <a:extLst>
              <a:ext uri="{FF2B5EF4-FFF2-40B4-BE49-F238E27FC236}">
                <a16:creationId xmlns:a16="http://schemas.microsoft.com/office/drawing/2014/main" id="{34BE67E0-BB4D-1DC5-62F8-F3B95AE6B864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A02164A3-2BE3-C19F-4EF5-9AFE9222D83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51" name="Grafik 50">
            <a:extLst>
              <a:ext uri="{FF2B5EF4-FFF2-40B4-BE49-F238E27FC236}">
                <a16:creationId xmlns:a16="http://schemas.microsoft.com/office/drawing/2014/main" id="{8D85ADB2-66BC-913F-1722-214517F142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41" name="Datumsplatzhalter 3">
            <a:extLst>
              <a:ext uri="{FF2B5EF4-FFF2-40B4-BE49-F238E27FC236}">
                <a16:creationId xmlns:a16="http://schemas.microsoft.com/office/drawing/2014/main" id="{AD61BB0F-A6B1-6D4A-B549-0F197AF56E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B76726D-E511-4B94-9DFB-F82EE8B373B1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42" name="Fußzeilenplatzhalter 4">
            <a:extLst>
              <a:ext uri="{FF2B5EF4-FFF2-40B4-BE49-F238E27FC236}">
                <a16:creationId xmlns:a16="http://schemas.microsoft.com/office/drawing/2014/main" id="{9E4B8D9B-ECC4-2A49-B62C-9728BE63DF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43" name="Foliennummernplatzhalter 5">
            <a:extLst>
              <a:ext uri="{FF2B5EF4-FFF2-40B4-BE49-F238E27FC236}">
                <a16:creationId xmlns:a16="http://schemas.microsoft.com/office/drawing/2014/main" id="{48DCD277-5FE6-F941-A054-F98478F16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33391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_Ikony + tekst + obra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 22">
            <a:extLst>
              <a:ext uri="{FF2B5EF4-FFF2-40B4-BE49-F238E27FC236}">
                <a16:creationId xmlns:a16="http://schemas.microsoft.com/office/drawing/2014/main" id="{43F2DE30-7BFF-FE4B-AFB2-27186EC9B3D5}"/>
              </a:ext>
            </a:extLst>
          </p:cNvPr>
          <p:cNvSpPr/>
          <p:nvPr userDrawn="1"/>
        </p:nvSpPr>
        <p:spPr>
          <a:xfrm>
            <a:off x="0" y="2188382"/>
            <a:ext cx="10481849" cy="4067175"/>
          </a:xfrm>
          <a:custGeom>
            <a:avLst/>
            <a:gdLst>
              <a:gd name="connsiteX0" fmla="*/ 0 w 10481849"/>
              <a:gd name="connsiteY0" fmla="*/ 0 h 4067175"/>
              <a:gd name="connsiteX1" fmla="*/ 10362843 w 10481849"/>
              <a:gd name="connsiteY1" fmla="*/ 0 h 4067175"/>
              <a:gd name="connsiteX2" fmla="*/ 10481849 w 10481849"/>
              <a:gd name="connsiteY2" fmla="*/ 119006 h 4067175"/>
              <a:gd name="connsiteX3" fmla="*/ 10481849 w 10481849"/>
              <a:gd name="connsiteY3" fmla="*/ 3948169 h 4067175"/>
              <a:gd name="connsiteX4" fmla="*/ 10362843 w 10481849"/>
              <a:gd name="connsiteY4" fmla="*/ 4067175 h 4067175"/>
              <a:gd name="connsiteX5" fmla="*/ 0 w 10481849"/>
              <a:gd name="connsiteY5" fmla="*/ 4067175 h 406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1849" h="4067175">
                <a:moveTo>
                  <a:pt x="0" y="0"/>
                </a:moveTo>
                <a:lnTo>
                  <a:pt x="10362843" y="0"/>
                </a:lnTo>
                <a:cubicBezTo>
                  <a:pt x="10428568" y="0"/>
                  <a:pt x="10481849" y="53281"/>
                  <a:pt x="10481849" y="119006"/>
                </a:cubicBezTo>
                <a:lnTo>
                  <a:pt x="10481849" y="3948169"/>
                </a:lnTo>
                <a:cubicBezTo>
                  <a:pt x="10481849" y="4013894"/>
                  <a:pt x="10428568" y="4067175"/>
                  <a:pt x="10362843" y="4067175"/>
                </a:cubicBezTo>
                <a:lnTo>
                  <a:pt x="0" y="406717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3EF21B42-8A42-CF4F-8EB5-78D52D4622E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0237" y="2465242"/>
            <a:ext cx="5824899" cy="35134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pl-PL"/>
              <a:t>Kliknij ikonę, aby dodać obraz</a:t>
            </a:r>
            <a:endParaRPr lang="de-DE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9EA6DEB-B587-B649-A384-3BB382250435}"/>
              </a:ext>
            </a:extLst>
          </p:cNvPr>
          <p:cNvSpPr/>
          <p:nvPr/>
        </p:nvSpPr>
        <p:spPr>
          <a:xfrm>
            <a:off x="6699804" y="2407460"/>
            <a:ext cx="656028" cy="656026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FF8D3B6-689F-B040-B341-D69A7DA6B221}"/>
              </a:ext>
            </a:extLst>
          </p:cNvPr>
          <p:cNvSpPr/>
          <p:nvPr/>
        </p:nvSpPr>
        <p:spPr>
          <a:xfrm>
            <a:off x="6753259" y="2460915"/>
            <a:ext cx="549119" cy="5491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FC36DE40-2B20-B54A-8331-072E22DE69C5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803760" y="2514442"/>
            <a:ext cx="448117" cy="44206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1066182F-0251-9641-9766-049375F12F97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6699804" y="3227363"/>
            <a:ext cx="3385503" cy="275133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183600" indent="-18360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3CF0E130-BDFF-50CE-0BEF-37088CC88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1B38ECCA-4A43-C9D6-2CA4-F90226552A53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A7CCFBB9-6E54-8D87-F549-B25E2F218C5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39E43491-23FA-7C4A-C812-38C0060D9E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06EDA86A-5AD0-BE4B-B83B-590A806332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72F66F6D-F24F-493F-BBDC-D4D5236457F1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7A474A3E-47B0-4B4E-8A98-05BFBB09B4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754565D2-E5E1-E043-93C4-44DE30567A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827175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_Ikony + tekst + obra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Freihandform 41">
            <a:extLst>
              <a:ext uri="{FF2B5EF4-FFF2-40B4-BE49-F238E27FC236}">
                <a16:creationId xmlns:a16="http://schemas.microsoft.com/office/drawing/2014/main" id="{151A7481-6AE7-FE41-8CB1-A8B4FAE35D49}"/>
              </a:ext>
            </a:extLst>
          </p:cNvPr>
          <p:cNvSpPr/>
          <p:nvPr userDrawn="1"/>
        </p:nvSpPr>
        <p:spPr>
          <a:xfrm>
            <a:off x="400048" y="1715887"/>
            <a:ext cx="6223818" cy="2215376"/>
          </a:xfrm>
          <a:custGeom>
            <a:avLst/>
            <a:gdLst>
              <a:gd name="connsiteX0" fmla="*/ 114601 w 6223818"/>
              <a:gd name="connsiteY0" fmla="*/ 0 h 2215376"/>
              <a:gd name="connsiteX1" fmla="*/ 6109217 w 6223818"/>
              <a:gd name="connsiteY1" fmla="*/ 0 h 2215376"/>
              <a:gd name="connsiteX2" fmla="*/ 6116033 w 6223818"/>
              <a:gd name="connsiteY2" fmla="*/ 1376 h 2215376"/>
              <a:gd name="connsiteX3" fmla="*/ 6223818 w 6223818"/>
              <a:gd name="connsiteY3" fmla="*/ 1376 h 2215376"/>
              <a:gd name="connsiteX4" fmla="*/ 6223818 w 6223818"/>
              <a:gd name="connsiteY4" fmla="*/ 114601 h 2215376"/>
              <a:gd name="connsiteX5" fmla="*/ 6223818 w 6223818"/>
              <a:gd name="connsiteY5" fmla="*/ 2100775 h 2215376"/>
              <a:gd name="connsiteX6" fmla="*/ 6223818 w 6223818"/>
              <a:gd name="connsiteY6" fmla="*/ 2215376 h 2215376"/>
              <a:gd name="connsiteX7" fmla="*/ 6109217 w 6223818"/>
              <a:gd name="connsiteY7" fmla="*/ 2215376 h 2215376"/>
              <a:gd name="connsiteX8" fmla="*/ 5783980 w 6223818"/>
              <a:gd name="connsiteY8" fmla="*/ 2215376 h 2215376"/>
              <a:gd name="connsiteX9" fmla="*/ 114601 w 6223818"/>
              <a:gd name="connsiteY9" fmla="*/ 2215376 h 2215376"/>
              <a:gd name="connsiteX10" fmla="*/ 0 w 6223818"/>
              <a:gd name="connsiteY10" fmla="*/ 2100775 h 2215376"/>
              <a:gd name="connsiteX11" fmla="*/ 0 w 6223818"/>
              <a:gd name="connsiteY11" fmla="*/ 114601 h 2215376"/>
              <a:gd name="connsiteX12" fmla="*/ 114601 w 6223818"/>
              <a:gd name="connsiteY12" fmla="*/ 0 h 221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223818" h="2215376">
                <a:moveTo>
                  <a:pt x="114601" y="0"/>
                </a:moveTo>
                <a:lnTo>
                  <a:pt x="6109217" y="0"/>
                </a:lnTo>
                <a:lnTo>
                  <a:pt x="6116033" y="1376"/>
                </a:lnTo>
                <a:lnTo>
                  <a:pt x="6223818" y="1376"/>
                </a:lnTo>
                <a:lnTo>
                  <a:pt x="6223818" y="114601"/>
                </a:lnTo>
                <a:lnTo>
                  <a:pt x="6223818" y="2100775"/>
                </a:lnTo>
                <a:lnTo>
                  <a:pt x="6223818" y="2215376"/>
                </a:lnTo>
                <a:lnTo>
                  <a:pt x="6109217" y="2215376"/>
                </a:lnTo>
                <a:lnTo>
                  <a:pt x="5783980" y="2215376"/>
                </a:lnTo>
                <a:lnTo>
                  <a:pt x="114601" y="2215376"/>
                </a:lnTo>
                <a:cubicBezTo>
                  <a:pt x="51309" y="2215376"/>
                  <a:pt x="0" y="2164067"/>
                  <a:pt x="0" y="2100775"/>
                </a:cubicBezTo>
                <a:lnTo>
                  <a:pt x="0" y="114601"/>
                </a:lnTo>
                <a:cubicBezTo>
                  <a:pt x="0" y="51309"/>
                  <a:pt x="51309" y="0"/>
                  <a:pt x="11460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200" b="1" i="0" u="none" strike="noStrike" kern="1200" cap="none" spc="0" normalizeH="0" baseline="0" noProof="0">
              <a:ln>
                <a:noFill/>
              </a:ln>
              <a:solidFill>
                <a:srgbClr val="005C9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Freihandform 43">
            <a:extLst>
              <a:ext uri="{FF2B5EF4-FFF2-40B4-BE49-F238E27FC236}">
                <a16:creationId xmlns:a16="http://schemas.microsoft.com/office/drawing/2014/main" id="{94786F6E-249E-3349-8FCD-4CC98B185745}"/>
              </a:ext>
            </a:extLst>
          </p:cNvPr>
          <p:cNvSpPr/>
          <p:nvPr userDrawn="1"/>
        </p:nvSpPr>
        <p:spPr>
          <a:xfrm>
            <a:off x="400048" y="4040184"/>
            <a:ext cx="6223818" cy="2215376"/>
          </a:xfrm>
          <a:custGeom>
            <a:avLst/>
            <a:gdLst>
              <a:gd name="connsiteX0" fmla="*/ 114601 w 6223818"/>
              <a:gd name="connsiteY0" fmla="*/ 0 h 2215376"/>
              <a:gd name="connsiteX1" fmla="*/ 6109217 w 6223818"/>
              <a:gd name="connsiteY1" fmla="*/ 0 h 2215376"/>
              <a:gd name="connsiteX2" fmla="*/ 6116033 w 6223818"/>
              <a:gd name="connsiteY2" fmla="*/ 1376 h 2215376"/>
              <a:gd name="connsiteX3" fmla="*/ 6223818 w 6223818"/>
              <a:gd name="connsiteY3" fmla="*/ 1376 h 2215376"/>
              <a:gd name="connsiteX4" fmla="*/ 6223818 w 6223818"/>
              <a:gd name="connsiteY4" fmla="*/ 114601 h 2215376"/>
              <a:gd name="connsiteX5" fmla="*/ 6223818 w 6223818"/>
              <a:gd name="connsiteY5" fmla="*/ 2100775 h 2215376"/>
              <a:gd name="connsiteX6" fmla="*/ 6223818 w 6223818"/>
              <a:gd name="connsiteY6" fmla="*/ 2215376 h 2215376"/>
              <a:gd name="connsiteX7" fmla="*/ 6109217 w 6223818"/>
              <a:gd name="connsiteY7" fmla="*/ 2215376 h 2215376"/>
              <a:gd name="connsiteX8" fmla="*/ 5783980 w 6223818"/>
              <a:gd name="connsiteY8" fmla="*/ 2215376 h 2215376"/>
              <a:gd name="connsiteX9" fmla="*/ 114601 w 6223818"/>
              <a:gd name="connsiteY9" fmla="*/ 2215376 h 2215376"/>
              <a:gd name="connsiteX10" fmla="*/ 0 w 6223818"/>
              <a:gd name="connsiteY10" fmla="*/ 2100775 h 2215376"/>
              <a:gd name="connsiteX11" fmla="*/ 0 w 6223818"/>
              <a:gd name="connsiteY11" fmla="*/ 114601 h 2215376"/>
              <a:gd name="connsiteX12" fmla="*/ 114601 w 6223818"/>
              <a:gd name="connsiteY12" fmla="*/ 0 h 221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223818" h="2215376">
                <a:moveTo>
                  <a:pt x="114601" y="0"/>
                </a:moveTo>
                <a:lnTo>
                  <a:pt x="6109217" y="0"/>
                </a:lnTo>
                <a:lnTo>
                  <a:pt x="6116033" y="1376"/>
                </a:lnTo>
                <a:lnTo>
                  <a:pt x="6223818" y="1376"/>
                </a:lnTo>
                <a:lnTo>
                  <a:pt x="6223818" y="114601"/>
                </a:lnTo>
                <a:lnTo>
                  <a:pt x="6223818" y="2100775"/>
                </a:lnTo>
                <a:lnTo>
                  <a:pt x="6223818" y="2215376"/>
                </a:lnTo>
                <a:lnTo>
                  <a:pt x="6109217" y="2215376"/>
                </a:lnTo>
                <a:lnTo>
                  <a:pt x="5783980" y="2215376"/>
                </a:lnTo>
                <a:lnTo>
                  <a:pt x="114601" y="2215376"/>
                </a:lnTo>
                <a:cubicBezTo>
                  <a:pt x="51309" y="2215376"/>
                  <a:pt x="0" y="2164067"/>
                  <a:pt x="0" y="2100775"/>
                </a:cubicBezTo>
                <a:lnTo>
                  <a:pt x="0" y="114601"/>
                </a:lnTo>
                <a:cubicBezTo>
                  <a:pt x="0" y="51309"/>
                  <a:pt x="51309" y="0"/>
                  <a:pt x="11460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200" b="1" i="0" u="none" strike="noStrike" kern="1200" cap="none" spc="0" normalizeH="0" baseline="0" noProof="0">
              <a:ln>
                <a:noFill/>
              </a:ln>
              <a:solidFill>
                <a:srgbClr val="005C9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465A3B4-23BC-BD41-8AF3-7CA2E94C6287}"/>
              </a:ext>
            </a:extLst>
          </p:cNvPr>
          <p:cNvSpPr/>
          <p:nvPr/>
        </p:nvSpPr>
        <p:spPr>
          <a:xfrm>
            <a:off x="698739" y="1965558"/>
            <a:ext cx="656028" cy="656026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440599B-1D88-F44D-8403-01B5F561B6D4}"/>
              </a:ext>
            </a:extLst>
          </p:cNvPr>
          <p:cNvSpPr/>
          <p:nvPr/>
        </p:nvSpPr>
        <p:spPr>
          <a:xfrm>
            <a:off x="752194" y="2019013"/>
            <a:ext cx="549119" cy="5491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C552478B-48AF-124D-B0D7-9F179CA93765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02695" y="2076953"/>
            <a:ext cx="448117" cy="44206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30537EED-8A6D-5244-BE74-3BF3F4C183FB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1772907" y="2627934"/>
            <a:ext cx="4365019" cy="1047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AA72865C-7CE1-B140-848E-3E34E117DF06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1772907" y="2068129"/>
            <a:ext cx="4365019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Hasło</a:t>
            </a:r>
            <a:endParaRPr lang="de-AT" dirty="0"/>
          </a:p>
          <a:p>
            <a:pPr lvl="0"/>
            <a:r>
              <a:rPr lang="pl-PL" dirty="0"/>
              <a:t>Hasło</a:t>
            </a:r>
            <a:endParaRPr lang="de-AT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2B35077-A1AA-9F4F-94BD-EE65BE07D0A0}"/>
              </a:ext>
            </a:extLst>
          </p:cNvPr>
          <p:cNvSpPr/>
          <p:nvPr/>
        </p:nvSpPr>
        <p:spPr>
          <a:xfrm>
            <a:off x="698739" y="4294607"/>
            <a:ext cx="656028" cy="656026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B5D6A6E0-3E99-044E-A294-12627AAEF6BC}"/>
              </a:ext>
            </a:extLst>
          </p:cNvPr>
          <p:cNvSpPr/>
          <p:nvPr/>
        </p:nvSpPr>
        <p:spPr>
          <a:xfrm>
            <a:off x="752194" y="4348062"/>
            <a:ext cx="549119" cy="5491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3D52C82B-97B4-9F45-85C8-203A1ABD0BF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02695" y="4406002"/>
            <a:ext cx="448117" cy="44206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6B1A19CD-7516-3249-B404-FBA7A861AB2B}"/>
              </a:ext>
            </a:extLst>
          </p:cNvPr>
          <p:cNvSpPr>
            <a:spLocks noGrp="1"/>
          </p:cNvSpPr>
          <p:nvPr>
            <p:ph sz="half" idx="33" hasCustomPrompt="1"/>
          </p:nvPr>
        </p:nvSpPr>
        <p:spPr>
          <a:xfrm>
            <a:off x="1772907" y="4956984"/>
            <a:ext cx="4365019" cy="10487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AEF94081-2799-0047-B653-9C23057A90E3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1772907" y="4397178"/>
            <a:ext cx="4365019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Hasło</a:t>
            </a:r>
            <a:endParaRPr lang="de-AT" dirty="0"/>
          </a:p>
          <a:p>
            <a:pPr lvl="0"/>
            <a:r>
              <a:rPr lang="pl-PL" dirty="0"/>
              <a:t>Hasło</a:t>
            </a:r>
            <a:endParaRPr lang="de-AT" dirty="0"/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BCA97F54-1427-9858-5A14-5539843666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35" name="Gerade Verbindung 34">
            <a:extLst>
              <a:ext uri="{FF2B5EF4-FFF2-40B4-BE49-F238E27FC236}">
                <a16:creationId xmlns:a16="http://schemas.microsoft.com/office/drawing/2014/main" id="{A2C13D71-4BF2-6E0A-8682-45E6346DC9A7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F364BBA5-6D13-210C-312E-3904E0277B8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5212BBB1-8E3B-F3DE-0134-33DC26231C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BCB3462D-5633-6D4A-9336-550C63263E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9D9D1CB3-3C3E-4323-A93C-0A90C5CDFD8C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29" name="Fußzeilenplatzhalter 4">
            <a:extLst>
              <a:ext uri="{FF2B5EF4-FFF2-40B4-BE49-F238E27FC236}">
                <a16:creationId xmlns:a16="http://schemas.microsoft.com/office/drawing/2014/main" id="{652BB4ED-0DA1-A84C-AC89-2FB9C6D251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C0E63DA2-324D-394A-9C50-D4BCA29A8C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26" name="Bildplatzhalter 61">
            <a:extLst>
              <a:ext uri="{FF2B5EF4-FFF2-40B4-BE49-F238E27FC236}">
                <a16:creationId xmlns:a16="http://schemas.microsoft.com/office/drawing/2014/main" id="{A0D6AFAC-6417-F048-9432-B3A6AC71CA6F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623866" y="1716706"/>
            <a:ext cx="5168085" cy="2214229"/>
          </a:xfrm>
          <a:custGeom>
            <a:avLst/>
            <a:gdLst>
              <a:gd name="connsiteX0" fmla="*/ 0 w 5168085"/>
              <a:gd name="connsiteY0" fmla="*/ 0 h 1962150"/>
              <a:gd name="connsiteX1" fmla="*/ 5111987 w 5168085"/>
              <a:gd name="connsiteY1" fmla="*/ 0 h 1962150"/>
              <a:gd name="connsiteX2" fmla="*/ 5168085 w 5168085"/>
              <a:gd name="connsiteY2" fmla="*/ 56098 h 1962150"/>
              <a:gd name="connsiteX3" fmla="*/ 5168085 w 5168085"/>
              <a:gd name="connsiteY3" fmla="*/ 1906052 h 1962150"/>
              <a:gd name="connsiteX4" fmla="*/ 5111987 w 5168085"/>
              <a:gd name="connsiteY4" fmla="*/ 1962150 h 1962150"/>
              <a:gd name="connsiteX5" fmla="*/ 0 w 5168085"/>
              <a:gd name="connsiteY5" fmla="*/ 1962150 h 1962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8085" h="1962150">
                <a:moveTo>
                  <a:pt x="0" y="0"/>
                </a:moveTo>
                <a:lnTo>
                  <a:pt x="5111987" y="0"/>
                </a:lnTo>
                <a:cubicBezTo>
                  <a:pt x="5142969" y="0"/>
                  <a:pt x="5168085" y="25116"/>
                  <a:pt x="5168085" y="56098"/>
                </a:cubicBezTo>
                <a:lnTo>
                  <a:pt x="5168085" y="1906052"/>
                </a:lnTo>
                <a:cubicBezTo>
                  <a:pt x="5168085" y="1937034"/>
                  <a:pt x="5142969" y="1962150"/>
                  <a:pt x="5111987" y="1962150"/>
                </a:cubicBezTo>
                <a:lnTo>
                  <a:pt x="0" y="196215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braz lub zdjęcie</a:t>
            </a:r>
            <a:endParaRPr lang="de-AT" dirty="0"/>
          </a:p>
          <a:p>
            <a:endParaRPr lang="de-DE" dirty="0"/>
          </a:p>
        </p:txBody>
      </p:sp>
      <p:sp>
        <p:nvSpPr>
          <p:cNvPr id="27" name="Bildplatzhalter 62">
            <a:extLst>
              <a:ext uri="{FF2B5EF4-FFF2-40B4-BE49-F238E27FC236}">
                <a16:creationId xmlns:a16="http://schemas.microsoft.com/office/drawing/2014/main" id="{232B75BC-51DD-AC43-94CA-0BDE32C15D4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623866" y="4041331"/>
            <a:ext cx="5168085" cy="2214229"/>
          </a:xfrm>
          <a:custGeom>
            <a:avLst/>
            <a:gdLst>
              <a:gd name="connsiteX0" fmla="*/ 0 w 5168085"/>
              <a:gd name="connsiteY0" fmla="*/ 0 h 1962150"/>
              <a:gd name="connsiteX1" fmla="*/ 5111987 w 5168085"/>
              <a:gd name="connsiteY1" fmla="*/ 0 h 1962150"/>
              <a:gd name="connsiteX2" fmla="*/ 5168085 w 5168085"/>
              <a:gd name="connsiteY2" fmla="*/ 56098 h 1962150"/>
              <a:gd name="connsiteX3" fmla="*/ 5168085 w 5168085"/>
              <a:gd name="connsiteY3" fmla="*/ 1906052 h 1962150"/>
              <a:gd name="connsiteX4" fmla="*/ 5111987 w 5168085"/>
              <a:gd name="connsiteY4" fmla="*/ 1962150 h 1962150"/>
              <a:gd name="connsiteX5" fmla="*/ 0 w 5168085"/>
              <a:gd name="connsiteY5" fmla="*/ 1962150 h 1962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8085" h="1962150">
                <a:moveTo>
                  <a:pt x="0" y="0"/>
                </a:moveTo>
                <a:lnTo>
                  <a:pt x="5111987" y="0"/>
                </a:lnTo>
                <a:cubicBezTo>
                  <a:pt x="5142969" y="0"/>
                  <a:pt x="5168085" y="25116"/>
                  <a:pt x="5168085" y="56098"/>
                </a:cubicBezTo>
                <a:lnTo>
                  <a:pt x="5168085" y="1906052"/>
                </a:lnTo>
                <a:cubicBezTo>
                  <a:pt x="5168085" y="1937034"/>
                  <a:pt x="5142969" y="1962150"/>
                  <a:pt x="5111987" y="1962150"/>
                </a:cubicBezTo>
                <a:lnTo>
                  <a:pt x="0" y="196215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braz lub zdjęcie</a:t>
            </a:r>
            <a:endParaRPr lang="de-AT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85049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4_Ikony + tekst + obra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98B7585-B20F-6F40-91C3-882D938A86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0049" y="2198622"/>
            <a:ext cx="3764149" cy="4056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pl-PL"/>
              <a:t>Kliknij ikonę, aby dodać obraz</a:t>
            </a:r>
            <a:endParaRPr lang="de-DE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4A9D4AC-D6BA-EE4F-9A51-A81341D80E54}"/>
              </a:ext>
            </a:extLst>
          </p:cNvPr>
          <p:cNvSpPr/>
          <p:nvPr/>
        </p:nvSpPr>
        <p:spPr>
          <a:xfrm>
            <a:off x="4620198" y="2226485"/>
            <a:ext cx="656028" cy="656026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7E58C60-2E47-4C4E-80CB-0AB922F313C3}"/>
              </a:ext>
            </a:extLst>
          </p:cNvPr>
          <p:cNvSpPr/>
          <p:nvPr/>
        </p:nvSpPr>
        <p:spPr>
          <a:xfrm>
            <a:off x="4673653" y="2279940"/>
            <a:ext cx="549119" cy="5491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924898D-B6CE-DB41-815E-7733F8BB2A19}"/>
              </a:ext>
            </a:extLst>
          </p:cNvPr>
          <p:cNvSpPr/>
          <p:nvPr/>
        </p:nvSpPr>
        <p:spPr>
          <a:xfrm>
            <a:off x="8402886" y="2226485"/>
            <a:ext cx="656028" cy="656026"/>
          </a:xfrm>
          <a:prstGeom prst="ellipse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7716600-22E3-6743-A037-D653F5AF9621}"/>
              </a:ext>
            </a:extLst>
          </p:cNvPr>
          <p:cNvSpPr/>
          <p:nvPr/>
        </p:nvSpPr>
        <p:spPr>
          <a:xfrm>
            <a:off x="8456341" y="2279940"/>
            <a:ext cx="549119" cy="5491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72C880DF-1D05-A040-8C74-3592A8F04BA2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724154" y="2333467"/>
            <a:ext cx="448117" cy="44206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E27BD4B5-FD9A-4040-8CE1-717C4BA96E5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506842" y="2333467"/>
            <a:ext cx="448117" cy="44206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Ikona</a:t>
            </a:r>
            <a:endParaRPr lang="de-AT" dirty="0"/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B14617F2-F39E-E548-877B-1EB0A0C63A23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4620198" y="3046387"/>
            <a:ext cx="3385503" cy="302819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183600" indent="-18360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6B89DDCA-8A8E-6440-AE0A-16E8BC25F5C8}"/>
              </a:ext>
            </a:extLst>
          </p:cNvPr>
          <p:cNvSpPr>
            <a:spLocks noGrp="1"/>
          </p:cNvSpPr>
          <p:nvPr>
            <p:ph sz="half" idx="42" hasCustomPrompt="1"/>
          </p:nvPr>
        </p:nvSpPr>
        <p:spPr>
          <a:xfrm>
            <a:off x="8406448" y="3046388"/>
            <a:ext cx="3385503" cy="302819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183600" indent="-18360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29669320-B28F-168B-A778-EEE6EE825B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30" name="Gerade Verbindung 29">
            <a:extLst>
              <a:ext uri="{FF2B5EF4-FFF2-40B4-BE49-F238E27FC236}">
                <a16:creationId xmlns:a16="http://schemas.microsoft.com/office/drawing/2014/main" id="{360474E8-08DB-DFDE-1164-1AAE3697DA9C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512BAB86-FCE6-25E9-CA2B-24148C7DC60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5E4F7436-5A5C-2BD3-6991-48F5EBCF5E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23" name="Datumsplatzhalter 3">
            <a:extLst>
              <a:ext uri="{FF2B5EF4-FFF2-40B4-BE49-F238E27FC236}">
                <a16:creationId xmlns:a16="http://schemas.microsoft.com/office/drawing/2014/main" id="{250E9426-8B06-7B41-B8CE-4B79F42EE9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82408E53-3156-4C64-97FA-CC59C9111F3F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719811F4-DABC-E34A-97D8-E720CAC848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6ADD92BC-1B94-234B-8CF4-DB8AA7B730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828806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1_Tekst + obra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6C080DB3-2422-2346-8E20-5231731FCC48}"/>
              </a:ext>
            </a:extLst>
          </p:cNvPr>
          <p:cNvSpPr/>
          <p:nvPr userDrawn="1"/>
        </p:nvSpPr>
        <p:spPr>
          <a:xfrm>
            <a:off x="0" y="0"/>
            <a:ext cx="4547616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4732B8A6-38DD-334F-A18E-C4081C5BBF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3362" y="2647758"/>
            <a:ext cx="2618401" cy="1456155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 sz="2800" b="1" i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82747BB1-CB37-8B42-9AE3-2C5E4BE58E6B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393363" y="5272702"/>
            <a:ext cx="2618402" cy="982857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27" name="Bildplatzhalter 2">
            <a:extLst>
              <a:ext uri="{FF2B5EF4-FFF2-40B4-BE49-F238E27FC236}">
                <a16:creationId xmlns:a16="http://schemas.microsoft.com/office/drawing/2014/main" id="{504B6539-6EBF-E344-9BC4-475416C59E1E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553355" y="1213653"/>
            <a:ext cx="8238596" cy="50419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braz lub zdjęcie</a:t>
            </a:r>
            <a:endParaRPr lang="de-AT" dirty="0"/>
          </a:p>
          <a:p>
            <a:endParaRPr lang="de-DE" dirty="0"/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0D39892F-EDC8-3A33-99FB-AB0285A48107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CCB4BD93-3BB5-C879-3C4F-216EB2E7D2D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2B1E5140-EC25-1C8F-9F9E-0F6595A6B8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8FD88F99-4CF3-AE4E-B8D6-033CDEAD35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6A3BE020-A7B9-4A58-9C12-8A2F670BDB12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48D2F0AA-CAF2-E44C-BE0D-A676CBD4DA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A8AB85D1-18F5-0E42-8686-15EC37BF04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222589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2_Tekst + obra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C6828B6F-02BB-2349-983A-6B9141D9DEFD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400237" y="2611228"/>
            <a:ext cx="5617635" cy="12625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D858715E-2102-994D-9A68-A211BB1AB6C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00237" y="2030155"/>
            <a:ext cx="561763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Hasło</a:t>
            </a:r>
            <a:endParaRPr lang="de-AT" dirty="0"/>
          </a:p>
          <a:p>
            <a:pPr lvl="0"/>
            <a:r>
              <a:rPr lang="pl-PL" dirty="0"/>
              <a:t>Hasło</a:t>
            </a:r>
            <a:endParaRPr lang="de-AT" dirty="0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C7A27801-52C0-D848-BEC2-79B1A356AB4E}"/>
              </a:ext>
            </a:extLst>
          </p:cNvPr>
          <p:cNvSpPr>
            <a:spLocks noGrp="1"/>
          </p:cNvSpPr>
          <p:nvPr>
            <p:ph sz="half" idx="33" hasCustomPrompt="1"/>
          </p:nvPr>
        </p:nvSpPr>
        <p:spPr>
          <a:xfrm>
            <a:off x="400237" y="4987858"/>
            <a:ext cx="5617635" cy="12622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0EF313A1-1D0E-9040-A6C6-6C96DBA030E4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400237" y="4416926"/>
            <a:ext cx="561763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Hasło</a:t>
            </a:r>
            <a:endParaRPr lang="de-AT" dirty="0"/>
          </a:p>
          <a:p>
            <a:pPr lvl="0"/>
            <a:r>
              <a:rPr lang="pl-PL" dirty="0"/>
              <a:t>Hasło</a:t>
            </a:r>
            <a:endParaRPr lang="de-AT" dirty="0"/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33888C05-E457-4F4B-9EDC-F520DAE79F0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624639" y="1700213"/>
            <a:ext cx="5167312" cy="2173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braz lub zdjęcie</a:t>
            </a:r>
            <a:endParaRPr lang="de-AT" dirty="0"/>
          </a:p>
          <a:p>
            <a:endParaRPr lang="de-DE" dirty="0"/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119DE5DE-2CC0-1A42-B920-68DEA552C96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624639" y="4077978"/>
            <a:ext cx="5167312" cy="2173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braz lub zdjęcie</a:t>
            </a:r>
            <a:endParaRPr lang="de-AT" dirty="0"/>
          </a:p>
          <a:p>
            <a:endParaRPr lang="de-DE" dirty="0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9F2F5A74-3B9B-5DD8-5148-7D20609ADF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28" name="Gerade Verbindung 27">
            <a:extLst>
              <a:ext uri="{FF2B5EF4-FFF2-40B4-BE49-F238E27FC236}">
                <a16:creationId xmlns:a16="http://schemas.microsoft.com/office/drawing/2014/main" id="{F4276CBF-3BB9-6105-1BCA-93EB1F86491F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370DE8B6-1933-3A90-8996-114A8F6F5E8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FC1AA828-0E1C-3530-B092-64F0EC2469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16" name="Datumsplatzhalter 3">
            <a:extLst>
              <a:ext uri="{FF2B5EF4-FFF2-40B4-BE49-F238E27FC236}">
                <a16:creationId xmlns:a16="http://schemas.microsoft.com/office/drawing/2014/main" id="{650C926F-B9AA-C542-9FD5-8416FB1E15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BB26BA2B-3EC9-4A51-87F0-E8FE529C8AFF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D00D352E-492E-B048-8679-FEB69B364D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40651042-D9B3-A846-919F-D0CFAB1BA1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2512921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3_Tekst + obra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9B456B22-3F48-5944-9488-8EB31188650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9290750" y="1700213"/>
            <a:ext cx="2501201" cy="4552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braz lub zdjęcie</a:t>
            </a:r>
            <a:endParaRPr lang="de-AT" dirty="0"/>
          </a:p>
          <a:p>
            <a:endParaRPr lang="de-DE" dirty="0"/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B1368E82-47A7-A846-B460-480035412BC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609061" y="1700213"/>
            <a:ext cx="2501201" cy="4552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braz lub zdjęcie</a:t>
            </a:r>
            <a:endParaRPr lang="de-AT" dirty="0"/>
          </a:p>
          <a:p>
            <a:endParaRPr lang="de-D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8DC05CBE-AEFB-5E44-B5AD-BA54145E6C67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400237" y="2285898"/>
            <a:ext cx="5617635" cy="39664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7D52C04E-DF32-814B-93E2-9790FA714485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00237" y="1700213"/>
            <a:ext cx="561763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Hasło</a:t>
            </a:r>
            <a:endParaRPr lang="de-AT" dirty="0"/>
          </a:p>
          <a:p>
            <a:pPr lvl="0"/>
            <a:r>
              <a:rPr lang="pl-PL" dirty="0"/>
              <a:t>Hasło</a:t>
            </a:r>
            <a:endParaRPr lang="de-AT" dirty="0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B82C348-0A46-FA91-810C-5ED051807C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1C238440-388B-B914-4709-FBCC363BDF66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DFC048C-AF6A-47C4-550D-DA5DA7690D1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F09BC54C-8487-5EEB-463D-9E1A300C27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15" name="Datumsplatzhalter 3">
            <a:extLst>
              <a:ext uri="{FF2B5EF4-FFF2-40B4-BE49-F238E27FC236}">
                <a16:creationId xmlns:a16="http://schemas.microsoft.com/office/drawing/2014/main" id="{4A4E116A-684A-EA4A-98F6-A8C9345843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C2DC33FF-B77F-4E54-94E8-994FEB812BD9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C938FE6B-6797-DB47-A4A9-1019FEACF3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6213FB44-7DEB-9A4E-9B86-BB779D2DF9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575608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4_Tekst + obra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ihandform 32">
            <a:extLst>
              <a:ext uri="{FF2B5EF4-FFF2-40B4-BE49-F238E27FC236}">
                <a16:creationId xmlns:a16="http://schemas.microsoft.com/office/drawing/2014/main" id="{100089C6-5246-4F47-AB79-A79E0CB2F428}"/>
              </a:ext>
            </a:extLst>
          </p:cNvPr>
          <p:cNvSpPr/>
          <p:nvPr userDrawn="1"/>
        </p:nvSpPr>
        <p:spPr>
          <a:xfrm>
            <a:off x="394951" y="3907472"/>
            <a:ext cx="5456762" cy="2348084"/>
          </a:xfrm>
          <a:custGeom>
            <a:avLst/>
            <a:gdLst>
              <a:gd name="connsiteX0" fmla="*/ 0 w 5456762"/>
              <a:gd name="connsiteY0" fmla="*/ 0 h 2348084"/>
              <a:gd name="connsiteX1" fmla="*/ 5456762 w 5456762"/>
              <a:gd name="connsiteY1" fmla="*/ 0 h 2348084"/>
              <a:gd name="connsiteX2" fmla="*/ 5456762 w 5456762"/>
              <a:gd name="connsiteY2" fmla="*/ 468487 h 2348084"/>
              <a:gd name="connsiteX3" fmla="*/ 5456762 w 5456762"/>
              <a:gd name="connsiteY3" fmla="*/ 593401 h 2348084"/>
              <a:gd name="connsiteX4" fmla="*/ 5456762 w 5456762"/>
              <a:gd name="connsiteY4" fmla="*/ 2260415 h 2348084"/>
              <a:gd name="connsiteX5" fmla="*/ 5369093 w 5456762"/>
              <a:gd name="connsiteY5" fmla="*/ 2348084 h 2348084"/>
              <a:gd name="connsiteX6" fmla="*/ 92955 w 5456762"/>
              <a:gd name="connsiteY6" fmla="*/ 2348084 h 2348084"/>
              <a:gd name="connsiteX7" fmla="*/ 5286 w 5456762"/>
              <a:gd name="connsiteY7" fmla="*/ 2260415 h 2348084"/>
              <a:gd name="connsiteX8" fmla="*/ 5286 w 5456762"/>
              <a:gd name="connsiteY8" fmla="*/ 593401 h 2348084"/>
              <a:gd name="connsiteX9" fmla="*/ 0 w 5456762"/>
              <a:gd name="connsiteY9" fmla="*/ 593401 h 2348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56762" h="2348084">
                <a:moveTo>
                  <a:pt x="0" y="0"/>
                </a:moveTo>
                <a:lnTo>
                  <a:pt x="5456762" y="0"/>
                </a:lnTo>
                <a:lnTo>
                  <a:pt x="5456762" y="468487"/>
                </a:lnTo>
                <a:lnTo>
                  <a:pt x="5456762" y="593401"/>
                </a:lnTo>
                <a:lnTo>
                  <a:pt x="5456762" y="2260415"/>
                </a:lnTo>
                <a:cubicBezTo>
                  <a:pt x="5456762" y="2308833"/>
                  <a:pt x="5417511" y="2348084"/>
                  <a:pt x="5369093" y="2348084"/>
                </a:cubicBezTo>
                <a:lnTo>
                  <a:pt x="92955" y="2348084"/>
                </a:lnTo>
                <a:cubicBezTo>
                  <a:pt x="44537" y="2348084"/>
                  <a:pt x="5286" y="2308833"/>
                  <a:pt x="5286" y="2260415"/>
                </a:cubicBezTo>
                <a:lnTo>
                  <a:pt x="5286" y="593401"/>
                </a:lnTo>
                <a:lnTo>
                  <a:pt x="0" y="59340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reihandform 34">
            <a:extLst>
              <a:ext uri="{FF2B5EF4-FFF2-40B4-BE49-F238E27FC236}">
                <a16:creationId xmlns:a16="http://schemas.microsoft.com/office/drawing/2014/main" id="{428C4D10-5B6C-E64B-ADE7-056744F1BE3E}"/>
              </a:ext>
            </a:extLst>
          </p:cNvPr>
          <p:cNvSpPr/>
          <p:nvPr userDrawn="1"/>
        </p:nvSpPr>
        <p:spPr>
          <a:xfrm>
            <a:off x="6335189" y="3907473"/>
            <a:ext cx="5456762" cy="2348085"/>
          </a:xfrm>
          <a:custGeom>
            <a:avLst/>
            <a:gdLst>
              <a:gd name="connsiteX0" fmla="*/ 0 w 5456762"/>
              <a:gd name="connsiteY0" fmla="*/ 0 h 2348085"/>
              <a:gd name="connsiteX1" fmla="*/ 5456762 w 5456762"/>
              <a:gd name="connsiteY1" fmla="*/ 0 h 2348085"/>
              <a:gd name="connsiteX2" fmla="*/ 5456762 w 5456762"/>
              <a:gd name="connsiteY2" fmla="*/ 468488 h 2348085"/>
              <a:gd name="connsiteX3" fmla="*/ 5456762 w 5456762"/>
              <a:gd name="connsiteY3" fmla="*/ 593401 h 2348085"/>
              <a:gd name="connsiteX4" fmla="*/ 5456762 w 5456762"/>
              <a:gd name="connsiteY4" fmla="*/ 2260416 h 2348085"/>
              <a:gd name="connsiteX5" fmla="*/ 5369093 w 5456762"/>
              <a:gd name="connsiteY5" fmla="*/ 2348085 h 2348085"/>
              <a:gd name="connsiteX6" fmla="*/ 92955 w 5456762"/>
              <a:gd name="connsiteY6" fmla="*/ 2348085 h 2348085"/>
              <a:gd name="connsiteX7" fmla="*/ 5286 w 5456762"/>
              <a:gd name="connsiteY7" fmla="*/ 2260416 h 2348085"/>
              <a:gd name="connsiteX8" fmla="*/ 5286 w 5456762"/>
              <a:gd name="connsiteY8" fmla="*/ 593401 h 2348085"/>
              <a:gd name="connsiteX9" fmla="*/ 0 w 5456762"/>
              <a:gd name="connsiteY9" fmla="*/ 593401 h 2348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56762" h="2348085">
                <a:moveTo>
                  <a:pt x="0" y="0"/>
                </a:moveTo>
                <a:lnTo>
                  <a:pt x="5456762" y="0"/>
                </a:lnTo>
                <a:lnTo>
                  <a:pt x="5456762" y="468488"/>
                </a:lnTo>
                <a:lnTo>
                  <a:pt x="5456762" y="593401"/>
                </a:lnTo>
                <a:lnTo>
                  <a:pt x="5456762" y="2260416"/>
                </a:lnTo>
                <a:cubicBezTo>
                  <a:pt x="5456762" y="2308834"/>
                  <a:pt x="5417511" y="2348085"/>
                  <a:pt x="5369093" y="2348085"/>
                </a:cubicBezTo>
                <a:lnTo>
                  <a:pt x="92955" y="2348085"/>
                </a:lnTo>
                <a:cubicBezTo>
                  <a:pt x="44537" y="2348085"/>
                  <a:pt x="5286" y="2308834"/>
                  <a:pt x="5286" y="2260416"/>
                </a:cubicBezTo>
                <a:lnTo>
                  <a:pt x="5286" y="593401"/>
                </a:lnTo>
                <a:lnTo>
                  <a:pt x="0" y="59340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Bildplatzhalter 37">
            <a:extLst>
              <a:ext uri="{FF2B5EF4-FFF2-40B4-BE49-F238E27FC236}">
                <a16:creationId xmlns:a16="http://schemas.microsoft.com/office/drawing/2014/main" id="{A80CFA11-0195-7B4F-995B-92F7B25FB0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00237" y="1730136"/>
            <a:ext cx="5449888" cy="2177338"/>
          </a:xfrm>
          <a:custGeom>
            <a:avLst/>
            <a:gdLst>
              <a:gd name="connsiteX0" fmla="*/ 109780 w 5449888"/>
              <a:gd name="connsiteY0" fmla="*/ 0 h 2391813"/>
              <a:gd name="connsiteX1" fmla="*/ 5340108 w 5449888"/>
              <a:gd name="connsiteY1" fmla="*/ 0 h 2391813"/>
              <a:gd name="connsiteX2" fmla="*/ 5449888 w 5449888"/>
              <a:gd name="connsiteY2" fmla="*/ 109780 h 2391813"/>
              <a:gd name="connsiteX3" fmla="*/ 5449888 w 5449888"/>
              <a:gd name="connsiteY3" fmla="*/ 2391813 h 2391813"/>
              <a:gd name="connsiteX4" fmla="*/ 0 w 5449888"/>
              <a:gd name="connsiteY4" fmla="*/ 2391813 h 2391813"/>
              <a:gd name="connsiteX5" fmla="*/ 0 w 5449888"/>
              <a:gd name="connsiteY5" fmla="*/ 109780 h 2391813"/>
              <a:gd name="connsiteX6" fmla="*/ 109780 w 5449888"/>
              <a:gd name="connsiteY6" fmla="*/ 0 h 23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49888" h="2391813">
                <a:moveTo>
                  <a:pt x="109780" y="0"/>
                </a:moveTo>
                <a:lnTo>
                  <a:pt x="5340108" y="0"/>
                </a:lnTo>
                <a:cubicBezTo>
                  <a:pt x="5400738" y="0"/>
                  <a:pt x="5449888" y="49150"/>
                  <a:pt x="5449888" y="109780"/>
                </a:cubicBezTo>
                <a:lnTo>
                  <a:pt x="5449888" y="2391813"/>
                </a:lnTo>
                <a:lnTo>
                  <a:pt x="0" y="2391813"/>
                </a:lnTo>
                <a:lnTo>
                  <a:pt x="0" y="109780"/>
                </a:lnTo>
                <a:cubicBezTo>
                  <a:pt x="0" y="49150"/>
                  <a:pt x="49150" y="0"/>
                  <a:pt x="10978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braz lub zdjęcie</a:t>
            </a:r>
            <a:endParaRPr lang="de-AT" dirty="0"/>
          </a:p>
          <a:p>
            <a:endParaRPr lang="de-DE" dirty="0"/>
          </a:p>
        </p:txBody>
      </p:sp>
      <p:sp>
        <p:nvSpPr>
          <p:cNvPr id="15" name="Bildplatzhalter 38">
            <a:extLst>
              <a:ext uri="{FF2B5EF4-FFF2-40B4-BE49-F238E27FC236}">
                <a16:creationId xmlns:a16="http://schemas.microsoft.com/office/drawing/2014/main" id="{25C62B36-D231-7244-9FF9-C6C07A4D7E5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42063" y="1730136"/>
            <a:ext cx="5449888" cy="2177338"/>
          </a:xfrm>
          <a:custGeom>
            <a:avLst/>
            <a:gdLst>
              <a:gd name="connsiteX0" fmla="*/ 109780 w 5449888"/>
              <a:gd name="connsiteY0" fmla="*/ 0 h 2391813"/>
              <a:gd name="connsiteX1" fmla="*/ 5340108 w 5449888"/>
              <a:gd name="connsiteY1" fmla="*/ 0 h 2391813"/>
              <a:gd name="connsiteX2" fmla="*/ 5449888 w 5449888"/>
              <a:gd name="connsiteY2" fmla="*/ 109780 h 2391813"/>
              <a:gd name="connsiteX3" fmla="*/ 5449888 w 5449888"/>
              <a:gd name="connsiteY3" fmla="*/ 2391813 h 2391813"/>
              <a:gd name="connsiteX4" fmla="*/ 0 w 5449888"/>
              <a:gd name="connsiteY4" fmla="*/ 2391813 h 2391813"/>
              <a:gd name="connsiteX5" fmla="*/ 0 w 5449888"/>
              <a:gd name="connsiteY5" fmla="*/ 109780 h 2391813"/>
              <a:gd name="connsiteX6" fmla="*/ 109780 w 5449888"/>
              <a:gd name="connsiteY6" fmla="*/ 0 h 23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49888" h="2391813">
                <a:moveTo>
                  <a:pt x="109780" y="0"/>
                </a:moveTo>
                <a:lnTo>
                  <a:pt x="5340108" y="0"/>
                </a:lnTo>
                <a:cubicBezTo>
                  <a:pt x="5400738" y="0"/>
                  <a:pt x="5449888" y="49150"/>
                  <a:pt x="5449888" y="109780"/>
                </a:cubicBezTo>
                <a:lnTo>
                  <a:pt x="5449888" y="2391813"/>
                </a:lnTo>
                <a:lnTo>
                  <a:pt x="0" y="2391813"/>
                </a:lnTo>
                <a:lnTo>
                  <a:pt x="0" y="109780"/>
                </a:lnTo>
                <a:cubicBezTo>
                  <a:pt x="0" y="49150"/>
                  <a:pt x="49150" y="0"/>
                  <a:pt x="10978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braz lub zdjęcie</a:t>
            </a:r>
            <a:endParaRPr lang="de-AT" dirty="0"/>
          </a:p>
          <a:p>
            <a:endParaRPr lang="de-DE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513FEB23-A814-6C42-B594-37D97ABF1E12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734771" y="4610664"/>
            <a:ext cx="4782409" cy="13938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68A1BA7A-F027-BB4E-ACEB-F5ADA12A42D2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34771" y="4155151"/>
            <a:ext cx="4782408" cy="2729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Tytuł</a:t>
            </a:r>
            <a:endParaRPr lang="de-AT" dirty="0"/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1DC230DB-5132-B248-8F9C-3534EAF061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6675009" y="4610664"/>
            <a:ext cx="4782409" cy="13938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18CD2671-B308-E44D-88B2-65D9A03C152A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675009" y="4155151"/>
            <a:ext cx="4782408" cy="2729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Tytuł</a:t>
            </a:r>
            <a:endParaRPr lang="de-AT" dirty="0"/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5E1ED552-FA1E-4C5C-A0E0-815380CBD4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9A3340D3-129B-C126-CD9F-C40CB28E3505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69689B81-1D24-452D-D00A-573B31CCC3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B32A2D90-7B12-BB13-1A60-303EF7234B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22" name="Datumsplatzhalter 3">
            <a:extLst>
              <a:ext uri="{FF2B5EF4-FFF2-40B4-BE49-F238E27FC236}">
                <a16:creationId xmlns:a16="http://schemas.microsoft.com/office/drawing/2014/main" id="{0B68830B-CDC6-7345-B7FC-4A376FFAA7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9FC1E5EE-8C20-4F0B-A145-6F467AEBE896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2C47E89C-7FFC-EC4C-983C-E9E33F5A2A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09C1D7A7-241A-B649-8758-845E8F216B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244587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5_Tekst + obra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Freihandform 48">
            <a:extLst>
              <a:ext uri="{FF2B5EF4-FFF2-40B4-BE49-F238E27FC236}">
                <a16:creationId xmlns:a16="http://schemas.microsoft.com/office/drawing/2014/main" id="{B3F6A88A-9EB7-C24E-BFBE-A26689D60049}"/>
              </a:ext>
            </a:extLst>
          </p:cNvPr>
          <p:cNvSpPr/>
          <p:nvPr userDrawn="1"/>
        </p:nvSpPr>
        <p:spPr>
          <a:xfrm>
            <a:off x="395397" y="3907474"/>
            <a:ext cx="3679826" cy="2348083"/>
          </a:xfrm>
          <a:custGeom>
            <a:avLst/>
            <a:gdLst>
              <a:gd name="connsiteX0" fmla="*/ 626 w 3679826"/>
              <a:gd name="connsiteY0" fmla="*/ 0 h 2348083"/>
              <a:gd name="connsiteX1" fmla="*/ 3679826 w 3679826"/>
              <a:gd name="connsiteY1" fmla="*/ 0 h 2348083"/>
              <a:gd name="connsiteX2" fmla="*/ 3679826 w 3679826"/>
              <a:gd name="connsiteY2" fmla="*/ 468486 h 2348083"/>
              <a:gd name="connsiteX3" fmla="*/ 3679826 w 3679826"/>
              <a:gd name="connsiteY3" fmla="*/ 593400 h 2348083"/>
              <a:gd name="connsiteX4" fmla="*/ 3679826 w 3679826"/>
              <a:gd name="connsiteY4" fmla="*/ 2260414 h 2348083"/>
              <a:gd name="connsiteX5" fmla="*/ 3592157 w 3679826"/>
              <a:gd name="connsiteY5" fmla="*/ 2348083 h 2348083"/>
              <a:gd name="connsiteX6" fmla="*/ 87669 w 3679826"/>
              <a:gd name="connsiteY6" fmla="*/ 2348083 h 2348083"/>
              <a:gd name="connsiteX7" fmla="*/ 0 w 3679826"/>
              <a:gd name="connsiteY7" fmla="*/ 2260414 h 2348083"/>
              <a:gd name="connsiteX8" fmla="*/ 0 w 3679826"/>
              <a:gd name="connsiteY8" fmla="*/ 468486 h 2348083"/>
              <a:gd name="connsiteX9" fmla="*/ 626 w 3679826"/>
              <a:gd name="connsiteY9" fmla="*/ 468486 h 2348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79826" h="2348083">
                <a:moveTo>
                  <a:pt x="626" y="0"/>
                </a:moveTo>
                <a:lnTo>
                  <a:pt x="3679826" y="0"/>
                </a:lnTo>
                <a:lnTo>
                  <a:pt x="3679826" y="468486"/>
                </a:lnTo>
                <a:lnTo>
                  <a:pt x="3679826" y="593400"/>
                </a:lnTo>
                <a:lnTo>
                  <a:pt x="3679826" y="2260414"/>
                </a:lnTo>
                <a:cubicBezTo>
                  <a:pt x="3679826" y="2308832"/>
                  <a:pt x="3640575" y="2348083"/>
                  <a:pt x="3592157" y="2348083"/>
                </a:cubicBezTo>
                <a:lnTo>
                  <a:pt x="87669" y="2348083"/>
                </a:lnTo>
                <a:cubicBezTo>
                  <a:pt x="39251" y="2348083"/>
                  <a:pt x="0" y="2308832"/>
                  <a:pt x="0" y="2260414"/>
                </a:cubicBezTo>
                <a:lnTo>
                  <a:pt x="0" y="468486"/>
                </a:lnTo>
                <a:lnTo>
                  <a:pt x="626" y="46848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Bildplatzhalter 37">
            <a:extLst>
              <a:ext uri="{FF2B5EF4-FFF2-40B4-BE49-F238E27FC236}">
                <a16:creationId xmlns:a16="http://schemas.microsoft.com/office/drawing/2014/main" id="{A5536BA7-6E68-7747-9129-C47AF5B172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96469" y="1730136"/>
            <a:ext cx="3678754" cy="2177338"/>
          </a:xfrm>
          <a:custGeom>
            <a:avLst/>
            <a:gdLst>
              <a:gd name="connsiteX0" fmla="*/ 109780 w 5449888"/>
              <a:gd name="connsiteY0" fmla="*/ 0 h 2391813"/>
              <a:gd name="connsiteX1" fmla="*/ 5340108 w 5449888"/>
              <a:gd name="connsiteY1" fmla="*/ 0 h 2391813"/>
              <a:gd name="connsiteX2" fmla="*/ 5449888 w 5449888"/>
              <a:gd name="connsiteY2" fmla="*/ 109780 h 2391813"/>
              <a:gd name="connsiteX3" fmla="*/ 5449888 w 5449888"/>
              <a:gd name="connsiteY3" fmla="*/ 2391813 h 2391813"/>
              <a:gd name="connsiteX4" fmla="*/ 0 w 5449888"/>
              <a:gd name="connsiteY4" fmla="*/ 2391813 h 2391813"/>
              <a:gd name="connsiteX5" fmla="*/ 0 w 5449888"/>
              <a:gd name="connsiteY5" fmla="*/ 109780 h 2391813"/>
              <a:gd name="connsiteX6" fmla="*/ 109780 w 5449888"/>
              <a:gd name="connsiteY6" fmla="*/ 0 h 23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49888" h="2391813">
                <a:moveTo>
                  <a:pt x="109780" y="0"/>
                </a:moveTo>
                <a:lnTo>
                  <a:pt x="5340108" y="0"/>
                </a:lnTo>
                <a:cubicBezTo>
                  <a:pt x="5400738" y="0"/>
                  <a:pt x="5449888" y="49150"/>
                  <a:pt x="5449888" y="109780"/>
                </a:cubicBezTo>
                <a:lnTo>
                  <a:pt x="5449888" y="2391813"/>
                </a:lnTo>
                <a:lnTo>
                  <a:pt x="0" y="2391813"/>
                </a:lnTo>
                <a:lnTo>
                  <a:pt x="0" y="109780"/>
                </a:lnTo>
                <a:cubicBezTo>
                  <a:pt x="0" y="49150"/>
                  <a:pt x="49150" y="0"/>
                  <a:pt x="10978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braz lub zdjęcie</a:t>
            </a:r>
            <a:endParaRPr lang="de-AT" dirty="0"/>
          </a:p>
          <a:p>
            <a:endParaRPr lang="de-DE" dirty="0"/>
          </a:p>
        </p:txBody>
      </p:sp>
      <p:sp>
        <p:nvSpPr>
          <p:cNvPr id="52" name="Freihandform 51">
            <a:extLst>
              <a:ext uri="{FF2B5EF4-FFF2-40B4-BE49-F238E27FC236}">
                <a16:creationId xmlns:a16="http://schemas.microsoft.com/office/drawing/2014/main" id="{556D33FA-5C12-9447-BE87-B3BA9B6F7127}"/>
              </a:ext>
            </a:extLst>
          </p:cNvPr>
          <p:cNvSpPr/>
          <p:nvPr userDrawn="1"/>
        </p:nvSpPr>
        <p:spPr>
          <a:xfrm>
            <a:off x="4255558" y="3907474"/>
            <a:ext cx="3679826" cy="2348083"/>
          </a:xfrm>
          <a:custGeom>
            <a:avLst/>
            <a:gdLst>
              <a:gd name="connsiteX0" fmla="*/ 626 w 3679826"/>
              <a:gd name="connsiteY0" fmla="*/ 0 h 2348083"/>
              <a:gd name="connsiteX1" fmla="*/ 3679826 w 3679826"/>
              <a:gd name="connsiteY1" fmla="*/ 0 h 2348083"/>
              <a:gd name="connsiteX2" fmla="*/ 3679826 w 3679826"/>
              <a:gd name="connsiteY2" fmla="*/ 468486 h 2348083"/>
              <a:gd name="connsiteX3" fmla="*/ 3679826 w 3679826"/>
              <a:gd name="connsiteY3" fmla="*/ 593400 h 2348083"/>
              <a:gd name="connsiteX4" fmla="*/ 3679826 w 3679826"/>
              <a:gd name="connsiteY4" fmla="*/ 2260414 h 2348083"/>
              <a:gd name="connsiteX5" fmla="*/ 3592157 w 3679826"/>
              <a:gd name="connsiteY5" fmla="*/ 2348083 h 2348083"/>
              <a:gd name="connsiteX6" fmla="*/ 87669 w 3679826"/>
              <a:gd name="connsiteY6" fmla="*/ 2348083 h 2348083"/>
              <a:gd name="connsiteX7" fmla="*/ 0 w 3679826"/>
              <a:gd name="connsiteY7" fmla="*/ 2260414 h 2348083"/>
              <a:gd name="connsiteX8" fmla="*/ 0 w 3679826"/>
              <a:gd name="connsiteY8" fmla="*/ 468486 h 2348083"/>
              <a:gd name="connsiteX9" fmla="*/ 626 w 3679826"/>
              <a:gd name="connsiteY9" fmla="*/ 468486 h 2348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79826" h="2348083">
                <a:moveTo>
                  <a:pt x="626" y="0"/>
                </a:moveTo>
                <a:lnTo>
                  <a:pt x="3679826" y="0"/>
                </a:lnTo>
                <a:lnTo>
                  <a:pt x="3679826" y="468486"/>
                </a:lnTo>
                <a:lnTo>
                  <a:pt x="3679826" y="593400"/>
                </a:lnTo>
                <a:lnTo>
                  <a:pt x="3679826" y="2260414"/>
                </a:lnTo>
                <a:cubicBezTo>
                  <a:pt x="3679826" y="2308832"/>
                  <a:pt x="3640575" y="2348083"/>
                  <a:pt x="3592157" y="2348083"/>
                </a:cubicBezTo>
                <a:lnTo>
                  <a:pt x="87669" y="2348083"/>
                </a:lnTo>
                <a:cubicBezTo>
                  <a:pt x="39251" y="2348083"/>
                  <a:pt x="0" y="2308832"/>
                  <a:pt x="0" y="2260414"/>
                </a:cubicBezTo>
                <a:lnTo>
                  <a:pt x="0" y="468486"/>
                </a:lnTo>
                <a:lnTo>
                  <a:pt x="626" y="46848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Bildplatzhalter 37">
            <a:extLst>
              <a:ext uri="{FF2B5EF4-FFF2-40B4-BE49-F238E27FC236}">
                <a16:creationId xmlns:a16="http://schemas.microsoft.com/office/drawing/2014/main" id="{A0789967-2B46-1547-BB48-F2F7D480C87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253280" y="1730136"/>
            <a:ext cx="3678754" cy="2177338"/>
          </a:xfrm>
          <a:custGeom>
            <a:avLst/>
            <a:gdLst>
              <a:gd name="connsiteX0" fmla="*/ 109780 w 5449888"/>
              <a:gd name="connsiteY0" fmla="*/ 0 h 2391813"/>
              <a:gd name="connsiteX1" fmla="*/ 5340108 w 5449888"/>
              <a:gd name="connsiteY1" fmla="*/ 0 h 2391813"/>
              <a:gd name="connsiteX2" fmla="*/ 5449888 w 5449888"/>
              <a:gd name="connsiteY2" fmla="*/ 109780 h 2391813"/>
              <a:gd name="connsiteX3" fmla="*/ 5449888 w 5449888"/>
              <a:gd name="connsiteY3" fmla="*/ 2391813 h 2391813"/>
              <a:gd name="connsiteX4" fmla="*/ 0 w 5449888"/>
              <a:gd name="connsiteY4" fmla="*/ 2391813 h 2391813"/>
              <a:gd name="connsiteX5" fmla="*/ 0 w 5449888"/>
              <a:gd name="connsiteY5" fmla="*/ 109780 h 2391813"/>
              <a:gd name="connsiteX6" fmla="*/ 109780 w 5449888"/>
              <a:gd name="connsiteY6" fmla="*/ 0 h 23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49888" h="2391813">
                <a:moveTo>
                  <a:pt x="109780" y="0"/>
                </a:moveTo>
                <a:lnTo>
                  <a:pt x="5340108" y="0"/>
                </a:lnTo>
                <a:cubicBezTo>
                  <a:pt x="5400738" y="0"/>
                  <a:pt x="5449888" y="49150"/>
                  <a:pt x="5449888" y="109780"/>
                </a:cubicBezTo>
                <a:lnTo>
                  <a:pt x="5449888" y="2391813"/>
                </a:lnTo>
                <a:lnTo>
                  <a:pt x="0" y="2391813"/>
                </a:lnTo>
                <a:lnTo>
                  <a:pt x="0" y="109780"/>
                </a:lnTo>
                <a:cubicBezTo>
                  <a:pt x="0" y="49150"/>
                  <a:pt x="49150" y="0"/>
                  <a:pt x="10978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braz lub zdjęcie</a:t>
            </a:r>
            <a:endParaRPr lang="de-AT" dirty="0"/>
          </a:p>
          <a:p>
            <a:endParaRPr lang="de-DE" dirty="0"/>
          </a:p>
        </p:txBody>
      </p:sp>
      <p:sp>
        <p:nvSpPr>
          <p:cNvPr id="54" name="Freihandform 53">
            <a:extLst>
              <a:ext uri="{FF2B5EF4-FFF2-40B4-BE49-F238E27FC236}">
                <a16:creationId xmlns:a16="http://schemas.microsoft.com/office/drawing/2014/main" id="{AB7A3AC6-BB70-A643-89DB-7E06CBF18FE5}"/>
              </a:ext>
            </a:extLst>
          </p:cNvPr>
          <p:cNvSpPr/>
          <p:nvPr userDrawn="1"/>
        </p:nvSpPr>
        <p:spPr>
          <a:xfrm>
            <a:off x="8112125" y="3907474"/>
            <a:ext cx="3679826" cy="2348083"/>
          </a:xfrm>
          <a:custGeom>
            <a:avLst/>
            <a:gdLst>
              <a:gd name="connsiteX0" fmla="*/ 626 w 3679826"/>
              <a:gd name="connsiteY0" fmla="*/ 0 h 2348083"/>
              <a:gd name="connsiteX1" fmla="*/ 3679826 w 3679826"/>
              <a:gd name="connsiteY1" fmla="*/ 0 h 2348083"/>
              <a:gd name="connsiteX2" fmla="*/ 3679826 w 3679826"/>
              <a:gd name="connsiteY2" fmla="*/ 468486 h 2348083"/>
              <a:gd name="connsiteX3" fmla="*/ 3679826 w 3679826"/>
              <a:gd name="connsiteY3" fmla="*/ 593400 h 2348083"/>
              <a:gd name="connsiteX4" fmla="*/ 3679826 w 3679826"/>
              <a:gd name="connsiteY4" fmla="*/ 2260414 h 2348083"/>
              <a:gd name="connsiteX5" fmla="*/ 3592157 w 3679826"/>
              <a:gd name="connsiteY5" fmla="*/ 2348083 h 2348083"/>
              <a:gd name="connsiteX6" fmla="*/ 87669 w 3679826"/>
              <a:gd name="connsiteY6" fmla="*/ 2348083 h 2348083"/>
              <a:gd name="connsiteX7" fmla="*/ 0 w 3679826"/>
              <a:gd name="connsiteY7" fmla="*/ 2260414 h 2348083"/>
              <a:gd name="connsiteX8" fmla="*/ 0 w 3679826"/>
              <a:gd name="connsiteY8" fmla="*/ 468486 h 2348083"/>
              <a:gd name="connsiteX9" fmla="*/ 626 w 3679826"/>
              <a:gd name="connsiteY9" fmla="*/ 468486 h 2348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79826" h="2348083">
                <a:moveTo>
                  <a:pt x="626" y="0"/>
                </a:moveTo>
                <a:lnTo>
                  <a:pt x="3679826" y="0"/>
                </a:lnTo>
                <a:lnTo>
                  <a:pt x="3679826" y="468486"/>
                </a:lnTo>
                <a:lnTo>
                  <a:pt x="3679826" y="593400"/>
                </a:lnTo>
                <a:lnTo>
                  <a:pt x="3679826" y="2260414"/>
                </a:lnTo>
                <a:cubicBezTo>
                  <a:pt x="3679826" y="2308832"/>
                  <a:pt x="3640575" y="2348083"/>
                  <a:pt x="3592157" y="2348083"/>
                </a:cubicBezTo>
                <a:lnTo>
                  <a:pt x="87669" y="2348083"/>
                </a:lnTo>
                <a:cubicBezTo>
                  <a:pt x="39251" y="2348083"/>
                  <a:pt x="0" y="2308832"/>
                  <a:pt x="0" y="2260414"/>
                </a:cubicBezTo>
                <a:lnTo>
                  <a:pt x="0" y="468486"/>
                </a:lnTo>
                <a:lnTo>
                  <a:pt x="626" y="46848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Bildplatzhalter 37">
            <a:extLst>
              <a:ext uri="{FF2B5EF4-FFF2-40B4-BE49-F238E27FC236}">
                <a16:creationId xmlns:a16="http://schemas.microsoft.com/office/drawing/2014/main" id="{A98DC343-8F36-744A-8C67-9804577C0B5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13197" y="1730136"/>
            <a:ext cx="3678754" cy="2177338"/>
          </a:xfrm>
          <a:custGeom>
            <a:avLst/>
            <a:gdLst>
              <a:gd name="connsiteX0" fmla="*/ 109780 w 5449888"/>
              <a:gd name="connsiteY0" fmla="*/ 0 h 2391813"/>
              <a:gd name="connsiteX1" fmla="*/ 5340108 w 5449888"/>
              <a:gd name="connsiteY1" fmla="*/ 0 h 2391813"/>
              <a:gd name="connsiteX2" fmla="*/ 5449888 w 5449888"/>
              <a:gd name="connsiteY2" fmla="*/ 109780 h 2391813"/>
              <a:gd name="connsiteX3" fmla="*/ 5449888 w 5449888"/>
              <a:gd name="connsiteY3" fmla="*/ 2391813 h 2391813"/>
              <a:gd name="connsiteX4" fmla="*/ 0 w 5449888"/>
              <a:gd name="connsiteY4" fmla="*/ 2391813 h 2391813"/>
              <a:gd name="connsiteX5" fmla="*/ 0 w 5449888"/>
              <a:gd name="connsiteY5" fmla="*/ 109780 h 2391813"/>
              <a:gd name="connsiteX6" fmla="*/ 109780 w 5449888"/>
              <a:gd name="connsiteY6" fmla="*/ 0 h 23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49888" h="2391813">
                <a:moveTo>
                  <a:pt x="109780" y="0"/>
                </a:moveTo>
                <a:lnTo>
                  <a:pt x="5340108" y="0"/>
                </a:lnTo>
                <a:cubicBezTo>
                  <a:pt x="5400738" y="0"/>
                  <a:pt x="5449888" y="49150"/>
                  <a:pt x="5449888" y="109780"/>
                </a:cubicBezTo>
                <a:lnTo>
                  <a:pt x="5449888" y="2391813"/>
                </a:lnTo>
                <a:lnTo>
                  <a:pt x="0" y="2391813"/>
                </a:lnTo>
                <a:lnTo>
                  <a:pt x="0" y="109780"/>
                </a:lnTo>
                <a:cubicBezTo>
                  <a:pt x="0" y="49150"/>
                  <a:pt x="49150" y="0"/>
                  <a:pt x="10978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braz lub zdjęcie</a:t>
            </a:r>
            <a:endParaRPr lang="de-AT" dirty="0"/>
          </a:p>
          <a:p>
            <a:endParaRPr lang="de-DE" dirty="0"/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3256CD53-C1A9-7F45-9186-4B3B13B274B8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739224" y="4610664"/>
            <a:ext cx="2988104" cy="13938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9B2DFE8C-CC19-0747-B5FC-4D8DC96222B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39225" y="4155151"/>
            <a:ext cx="2988103" cy="2729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Tytuł</a:t>
            </a:r>
            <a:endParaRPr lang="de-AT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8D8A6B4-FE03-8840-9F5F-C47684C68CC7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4601948" y="4610664"/>
            <a:ext cx="2988104" cy="13938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A37F5195-179B-834A-A7B4-3335FAB66F3E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601949" y="4155151"/>
            <a:ext cx="2988103" cy="2729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Tytuł</a:t>
            </a:r>
            <a:endParaRPr lang="de-AT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7058D26D-ADA9-E847-A96F-84B94A194656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8457986" y="4610664"/>
            <a:ext cx="2988104" cy="13938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33F387FC-44E2-554A-BAB2-232A8BAB0D6A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457987" y="4155151"/>
            <a:ext cx="2988103" cy="2729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Tytuł</a:t>
            </a:r>
            <a:endParaRPr lang="de-AT" dirty="0"/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B70EB5D1-FD59-2847-2B45-B7914CAC3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39" name="Gerade Verbindung 38">
            <a:extLst>
              <a:ext uri="{FF2B5EF4-FFF2-40B4-BE49-F238E27FC236}">
                <a16:creationId xmlns:a16="http://schemas.microsoft.com/office/drawing/2014/main" id="{C4CFE19E-DBF4-EC8F-4D4F-FAB744AF24DB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94EAE8C4-594F-83DA-BD75-2C846A4DFEC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42" name="Grafik 41">
            <a:extLst>
              <a:ext uri="{FF2B5EF4-FFF2-40B4-BE49-F238E27FC236}">
                <a16:creationId xmlns:a16="http://schemas.microsoft.com/office/drawing/2014/main" id="{1B5477FA-1A05-16A0-CC6D-659F404C86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32" name="Datumsplatzhalter 3">
            <a:extLst>
              <a:ext uri="{FF2B5EF4-FFF2-40B4-BE49-F238E27FC236}">
                <a16:creationId xmlns:a16="http://schemas.microsoft.com/office/drawing/2014/main" id="{7ACB6D34-658E-CC40-B241-6BEEC0CE30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850619A1-A917-4C99-9F25-6FCCBC091C34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33" name="Fußzeilenplatzhalter 4">
            <a:extLst>
              <a:ext uri="{FF2B5EF4-FFF2-40B4-BE49-F238E27FC236}">
                <a16:creationId xmlns:a16="http://schemas.microsoft.com/office/drawing/2014/main" id="{EA193843-3C64-7F42-8F27-4721EFB7A5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34" name="Foliennummernplatzhalter 5">
            <a:extLst>
              <a:ext uri="{FF2B5EF4-FFF2-40B4-BE49-F238E27FC236}">
                <a16:creationId xmlns:a16="http://schemas.microsoft.com/office/drawing/2014/main" id="{CAD76656-5783-0C48-A5B5-73AA4E3CC0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771251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3_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Freihandform 49">
            <a:extLst>
              <a:ext uri="{FF2B5EF4-FFF2-40B4-BE49-F238E27FC236}">
                <a16:creationId xmlns:a16="http://schemas.microsoft.com/office/drawing/2014/main" id="{8AA5E7F6-8297-C6D1-47D1-02E6F781D524}"/>
              </a:ext>
            </a:extLst>
          </p:cNvPr>
          <p:cNvSpPr/>
          <p:nvPr userDrawn="1"/>
        </p:nvSpPr>
        <p:spPr>
          <a:xfrm>
            <a:off x="-1" y="2321829"/>
            <a:ext cx="11791951" cy="3932916"/>
          </a:xfrm>
          <a:custGeom>
            <a:avLst/>
            <a:gdLst>
              <a:gd name="connsiteX0" fmla="*/ 0 w 11712576"/>
              <a:gd name="connsiteY0" fmla="*/ 0 h 3932916"/>
              <a:gd name="connsiteX1" fmla="*/ 11589672 w 11712576"/>
              <a:gd name="connsiteY1" fmla="*/ 0 h 3932916"/>
              <a:gd name="connsiteX2" fmla="*/ 11712576 w 11712576"/>
              <a:gd name="connsiteY2" fmla="*/ 122904 h 3932916"/>
              <a:gd name="connsiteX3" fmla="*/ 11712576 w 11712576"/>
              <a:gd name="connsiteY3" fmla="*/ 3810012 h 3932916"/>
              <a:gd name="connsiteX4" fmla="*/ 11589672 w 11712576"/>
              <a:gd name="connsiteY4" fmla="*/ 3932916 h 3932916"/>
              <a:gd name="connsiteX5" fmla="*/ 0 w 11712576"/>
              <a:gd name="connsiteY5" fmla="*/ 3932916 h 3932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12576" h="3932916">
                <a:moveTo>
                  <a:pt x="0" y="0"/>
                </a:moveTo>
                <a:lnTo>
                  <a:pt x="11589672" y="0"/>
                </a:lnTo>
                <a:cubicBezTo>
                  <a:pt x="11657550" y="0"/>
                  <a:pt x="11712576" y="55026"/>
                  <a:pt x="11712576" y="122904"/>
                </a:cubicBezTo>
                <a:lnTo>
                  <a:pt x="11712576" y="3810012"/>
                </a:lnTo>
                <a:cubicBezTo>
                  <a:pt x="11712576" y="3877890"/>
                  <a:pt x="11657550" y="3932916"/>
                  <a:pt x="11589672" y="3932916"/>
                </a:cubicBezTo>
                <a:lnTo>
                  <a:pt x="0" y="393291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Titel 1">
            <a:extLst>
              <a:ext uri="{FF2B5EF4-FFF2-40B4-BE49-F238E27FC236}">
                <a16:creationId xmlns:a16="http://schemas.microsoft.com/office/drawing/2014/main" id="{23688653-9552-DF6F-4EF1-7B9FDC0CEB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3363" y="1234622"/>
            <a:ext cx="10088485" cy="440182"/>
          </a:xfrm>
        </p:spPr>
        <p:txBody>
          <a:bodyPr lIns="0" tIns="0" rIns="0" bIns="0" anchor="t" anchorCtr="0">
            <a:noAutofit/>
          </a:bodyPr>
          <a:lstStyle>
            <a:lvl1pPr>
              <a:defRPr sz="3600" b="1" i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Agenda</a:t>
            </a:r>
          </a:p>
        </p:txBody>
      </p:sp>
      <p:cxnSp>
        <p:nvCxnSpPr>
          <p:cNvPr id="52" name="Gerade Verbindung 51">
            <a:extLst>
              <a:ext uri="{FF2B5EF4-FFF2-40B4-BE49-F238E27FC236}">
                <a16:creationId xmlns:a16="http://schemas.microsoft.com/office/drawing/2014/main" id="{0BB76F49-77AB-0677-67CE-9D599904C32B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A14B6046-099E-38E5-8EB0-2101AFF4173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DBD588FB-35F9-9264-D0A4-888708FEEA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9D5308FB-0DD4-C847-8BE6-5B88B135BFBB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1197997" y="2927451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Pozycja w agencie</a:t>
            </a:r>
            <a:endParaRPr lang="de-AT" dirty="0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409F69DE-57BA-6042-BFAB-4AE8C08C43FC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00050" y="2813256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1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D92AE9DB-16DF-BB47-A6EB-9C9A0C20919B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1197997" y="4034210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Pozycja w agencie</a:t>
            </a:r>
            <a:endParaRPr lang="de-AT" dirty="0"/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D940A534-200E-7241-AB76-D03D6D6BD55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00050" y="3920015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2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B34F019B-0441-6B4C-974A-D77AA8BF40FA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1197997" y="5160659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Pozycja w agencie</a:t>
            </a:r>
            <a:endParaRPr lang="de-AT" dirty="0"/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4D7EB7A2-8FA2-A848-958E-6CDAB78839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00050" y="5046464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3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769FADD5-2CCE-EE41-8E0D-5B4FBD76DE2C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6893947" y="2927451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Pozycja w agencie</a:t>
            </a:r>
            <a:endParaRPr lang="de-AT" dirty="0"/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0E743D98-D071-094D-86EC-51166DFC1F42}"/>
              </a:ext>
            </a:extLst>
          </p:cNvPr>
          <p:cNvSpPr>
            <a:spLocks noGrp="1"/>
          </p:cNvSpPr>
          <p:nvPr>
            <p:ph type="body" idx="37" hasCustomPrompt="1"/>
          </p:nvPr>
        </p:nvSpPr>
        <p:spPr>
          <a:xfrm>
            <a:off x="6096000" y="2813256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4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C1EA7DAC-7245-774F-94CF-E0BDCB407DB6}"/>
              </a:ext>
            </a:extLst>
          </p:cNvPr>
          <p:cNvSpPr>
            <a:spLocks noGrp="1"/>
          </p:cNvSpPr>
          <p:nvPr>
            <p:ph type="body" idx="39" hasCustomPrompt="1"/>
          </p:nvPr>
        </p:nvSpPr>
        <p:spPr>
          <a:xfrm>
            <a:off x="6893947" y="4034210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Pozycja w agencie</a:t>
            </a:r>
            <a:endParaRPr lang="de-AT" dirty="0"/>
          </a:p>
        </p:txBody>
      </p:sp>
      <p:sp>
        <p:nvSpPr>
          <p:cNvPr id="58" name="Textplatzhalter 2">
            <a:extLst>
              <a:ext uri="{FF2B5EF4-FFF2-40B4-BE49-F238E27FC236}">
                <a16:creationId xmlns:a16="http://schemas.microsoft.com/office/drawing/2014/main" id="{C08AA791-6304-D246-A993-7F1F64C7E491}"/>
              </a:ext>
            </a:extLst>
          </p:cNvPr>
          <p:cNvSpPr>
            <a:spLocks noGrp="1"/>
          </p:cNvSpPr>
          <p:nvPr>
            <p:ph type="body" idx="40" hasCustomPrompt="1"/>
          </p:nvPr>
        </p:nvSpPr>
        <p:spPr>
          <a:xfrm>
            <a:off x="6096000" y="3920015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5</a:t>
            </a:r>
          </a:p>
        </p:txBody>
      </p: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06ADDAA2-370E-AB4E-BA79-413A6448400A}"/>
              </a:ext>
            </a:extLst>
          </p:cNvPr>
          <p:cNvSpPr>
            <a:spLocks noGrp="1"/>
          </p:cNvSpPr>
          <p:nvPr>
            <p:ph type="body" idx="42" hasCustomPrompt="1"/>
          </p:nvPr>
        </p:nvSpPr>
        <p:spPr>
          <a:xfrm>
            <a:off x="6893947" y="5160659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Pozycja w agencie</a:t>
            </a:r>
            <a:endParaRPr lang="de-AT" dirty="0"/>
          </a:p>
        </p:txBody>
      </p: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E816D4E7-BBDB-774B-9592-8B61AD99837D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6096000" y="5046464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6</a:t>
            </a:r>
          </a:p>
        </p:txBody>
      </p:sp>
      <p:sp>
        <p:nvSpPr>
          <p:cNvPr id="75" name="Datumsplatzhalter 3">
            <a:extLst>
              <a:ext uri="{FF2B5EF4-FFF2-40B4-BE49-F238E27FC236}">
                <a16:creationId xmlns:a16="http://schemas.microsoft.com/office/drawing/2014/main" id="{0F432EAF-D6A8-4543-A49E-E4D034F1B3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F007D370-52FF-494D-84E1-E984BF5A37F5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76" name="Fußzeilenplatzhalter 4">
            <a:extLst>
              <a:ext uri="{FF2B5EF4-FFF2-40B4-BE49-F238E27FC236}">
                <a16:creationId xmlns:a16="http://schemas.microsoft.com/office/drawing/2014/main" id="{F848E738-D5F5-214D-8A1A-393914B736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77" name="Foliennummernplatzhalter 5">
            <a:extLst>
              <a:ext uri="{FF2B5EF4-FFF2-40B4-BE49-F238E27FC236}">
                <a16:creationId xmlns:a16="http://schemas.microsoft.com/office/drawing/2014/main" id="{28772E9B-A106-B345-8B67-75A1B1A154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829429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1_Tytuł + obra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Bildplatzhalter 5">
            <a:extLst>
              <a:ext uri="{FF2B5EF4-FFF2-40B4-BE49-F238E27FC236}">
                <a16:creationId xmlns:a16="http://schemas.microsoft.com/office/drawing/2014/main" id="{A8CE7F3E-2CE1-8646-8C89-1686BEA70EB2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980048" y="2188384"/>
            <a:ext cx="4811903" cy="40671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pl-PL" dirty="0"/>
              <a:t>Obraz lub zdjęcie</a:t>
            </a:r>
            <a:endParaRPr lang="de-AT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465A0ACE-6C48-D494-4A3E-7385E69D5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94550724-DD01-C71F-B762-66773B244C83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2EE54AE6-EA59-D138-87B4-BACCF91D9C9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FAEF375B-6AF0-A599-6F27-AA297283F1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AB70CE73-E051-BB44-ADC0-1BF41E0694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AD8ADFD7-8911-4E9E-A365-39FB5B0A599B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675CCBB-41AB-9C44-B28C-4CE6FD8601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5804978B-AD25-D94D-9C07-2684D81476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342816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2_Tytuł + obra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32DBC501-9BB1-C340-AEC7-F43BE23DACC3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00237" y="2188385"/>
            <a:ext cx="3801026" cy="40671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pl-PL" dirty="0"/>
              <a:t>Obraz lub zdjęcie</a:t>
            </a:r>
            <a:endParaRPr lang="de-AT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289E64F2-8DD4-3D32-905F-F046DEDF33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FFD59C87-0847-5770-876E-F2BAB0172959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56B35011-E582-B541-765C-16CB200C8D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A4E1B60C-6A97-63CF-A6E0-EB6D10425F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EF347348-71C1-1D44-8EE2-6A605B8651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21C57B74-7E1F-4403-A3EC-7AC36178AA35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C8707247-8A75-EF42-B02B-FD3391E44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DA849893-A3E1-0D44-91B5-72DC4C8979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187614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1_Makieta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4B445B89-65A7-404A-8F39-9B7DA0B82A2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52826" y="1942928"/>
            <a:ext cx="6207072" cy="38218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pl-PL"/>
              <a:t>Kliknij ikonę, aby dodać obraz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4A457A4A-F493-C040-9B1A-7F861B8FCCCA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400237" y="1700213"/>
            <a:ext cx="4781363" cy="455453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182563" indent="-182563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76ED613C-8AB0-BA8D-9350-5D37ACD2A3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9B0ADA60-D1B5-2A9E-4049-08CDA6341FC4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A0638147-22F8-BAF7-7CD2-5348F697579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FFD8A926-D946-93E5-7435-6485B53184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04545F25-13E6-A142-8617-DCF97AB783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88797539-7C3B-4D05-8157-0A4829269DC3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29798F63-DA62-8749-A404-1DDD2B4D0A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F6EF1FC2-E108-214E-ABB5-DEDCE60938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1446824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_Obraz na całej powierzchni + tekst + białe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C15BDA89-649A-2E75-6329-F7253C8B1114}"/>
              </a:ext>
            </a:extLst>
          </p:cNvPr>
          <p:cNvSpPr/>
          <p:nvPr userDrawn="1"/>
        </p:nvSpPr>
        <p:spPr>
          <a:xfrm>
            <a:off x="396875" y="4547130"/>
            <a:ext cx="11395075" cy="1707620"/>
          </a:xfrm>
          <a:prstGeom prst="roundRect">
            <a:avLst>
              <a:gd name="adj" fmla="val 656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9EC33E4B-EC92-F31F-9486-8F1EC53FB6C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508946 w 12192000"/>
              <a:gd name="connsiteY0" fmla="*/ 4547130 h 6858000"/>
              <a:gd name="connsiteX1" fmla="*/ 396875 w 12192000"/>
              <a:gd name="connsiteY1" fmla="*/ 4659201 h 6858000"/>
              <a:gd name="connsiteX2" fmla="*/ 396875 w 12192000"/>
              <a:gd name="connsiteY2" fmla="*/ 6142679 h 6858000"/>
              <a:gd name="connsiteX3" fmla="*/ 508946 w 12192000"/>
              <a:gd name="connsiteY3" fmla="*/ 6254750 h 6858000"/>
              <a:gd name="connsiteX4" fmla="*/ 11679879 w 12192000"/>
              <a:gd name="connsiteY4" fmla="*/ 6254750 h 6858000"/>
              <a:gd name="connsiteX5" fmla="*/ 11791950 w 12192000"/>
              <a:gd name="connsiteY5" fmla="*/ 6142679 h 6858000"/>
              <a:gd name="connsiteX6" fmla="*/ 11791950 w 12192000"/>
              <a:gd name="connsiteY6" fmla="*/ 4659201 h 6858000"/>
              <a:gd name="connsiteX7" fmla="*/ 11679879 w 12192000"/>
              <a:gd name="connsiteY7" fmla="*/ 454713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508946" y="4547130"/>
                </a:moveTo>
                <a:cubicBezTo>
                  <a:pt x="447051" y="4547130"/>
                  <a:pt x="396875" y="4597306"/>
                  <a:pt x="396875" y="4659201"/>
                </a:cubicBezTo>
                <a:lnTo>
                  <a:pt x="396875" y="6142679"/>
                </a:lnTo>
                <a:cubicBezTo>
                  <a:pt x="396875" y="6204574"/>
                  <a:pt x="447051" y="6254750"/>
                  <a:pt x="508946" y="6254750"/>
                </a:cubicBezTo>
                <a:lnTo>
                  <a:pt x="11679879" y="6254750"/>
                </a:lnTo>
                <a:cubicBezTo>
                  <a:pt x="11741774" y="6254750"/>
                  <a:pt x="11791950" y="6204574"/>
                  <a:pt x="11791950" y="6142679"/>
                </a:cubicBezTo>
                <a:lnTo>
                  <a:pt x="11791950" y="4659201"/>
                </a:lnTo>
                <a:cubicBezTo>
                  <a:pt x="11791950" y="4597306"/>
                  <a:pt x="11741774" y="4547130"/>
                  <a:pt x="11679879" y="454713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.</a:t>
            </a:r>
          </a:p>
        </p:txBody>
      </p:sp>
      <p:sp>
        <p:nvSpPr>
          <p:cNvPr id="33" name="Titel 1">
            <a:extLst>
              <a:ext uri="{FF2B5EF4-FFF2-40B4-BE49-F238E27FC236}">
                <a16:creationId xmlns:a16="http://schemas.microsoft.com/office/drawing/2014/main" id="{42C654A9-7610-7248-A755-693FDFE66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8237" y="4936053"/>
            <a:ext cx="4242881" cy="928882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 sz="3200" b="1" i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sp>
        <p:nvSpPr>
          <p:cNvPr id="34" name="Inhaltsplatzhalter 2">
            <a:extLst>
              <a:ext uri="{FF2B5EF4-FFF2-40B4-BE49-F238E27FC236}">
                <a16:creationId xmlns:a16="http://schemas.microsoft.com/office/drawing/2014/main" id="{1D89B2B7-B48B-2C41-89A5-79FCF78AA291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5720989" y="4936053"/>
            <a:ext cx="5492774" cy="92888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B2E04322-2481-D447-85BC-5D21EEC945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3363" y="168275"/>
            <a:ext cx="1067137" cy="19367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632942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.1_Obrazy + najważniejsze tre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37">
            <a:extLst>
              <a:ext uri="{FF2B5EF4-FFF2-40B4-BE49-F238E27FC236}">
                <a16:creationId xmlns:a16="http://schemas.microsoft.com/office/drawing/2014/main" id="{C29C1798-42DB-A143-BA4A-04E38F1F7AF7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00237" y="2291386"/>
            <a:ext cx="2725737" cy="3963987"/>
          </a:xfrm>
          <a:custGeom>
            <a:avLst/>
            <a:gdLst>
              <a:gd name="connsiteX0" fmla="*/ 319303 w 2725737"/>
              <a:gd name="connsiteY0" fmla="*/ 2462737 h 3963987"/>
              <a:gd name="connsiteX1" fmla="*/ 211304 w 2725737"/>
              <a:gd name="connsiteY1" fmla="*/ 2570736 h 3963987"/>
              <a:gd name="connsiteX2" fmla="*/ 211304 w 2725737"/>
              <a:gd name="connsiteY2" fmla="*/ 3582280 h 3963987"/>
              <a:gd name="connsiteX3" fmla="*/ 319303 w 2725737"/>
              <a:gd name="connsiteY3" fmla="*/ 3690279 h 3963987"/>
              <a:gd name="connsiteX4" fmla="*/ 2407191 w 2725737"/>
              <a:gd name="connsiteY4" fmla="*/ 3690279 h 3963987"/>
              <a:gd name="connsiteX5" fmla="*/ 2515190 w 2725737"/>
              <a:gd name="connsiteY5" fmla="*/ 3582280 h 3963987"/>
              <a:gd name="connsiteX6" fmla="*/ 2515190 w 2725737"/>
              <a:gd name="connsiteY6" fmla="*/ 2570736 h 3963987"/>
              <a:gd name="connsiteX7" fmla="*/ 2407191 w 2725737"/>
              <a:gd name="connsiteY7" fmla="*/ 2462737 h 3963987"/>
              <a:gd name="connsiteX8" fmla="*/ 0 w 2725737"/>
              <a:gd name="connsiteY8" fmla="*/ 0 h 3963987"/>
              <a:gd name="connsiteX9" fmla="*/ 2725737 w 2725737"/>
              <a:gd name="connsiteY9" fmla="*/ 0 h 3963987"/>
              <a:gd name="connsiteX10" fmla="*/ 2725737 w 2725737"/>
              <a:gd name="connsiteY10" fmla="*/ 3963987 h 3963987"/>
              <a:gd name="connsiteX11" fmla="*/ 0 w 2725737"/>
              <a:gd name="connsiteY11" fmla="*/ 3963987 h 3963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725737" h="3963987">
                <a:moveTo>
                  <a:pt x="319303" y="2462737"/>
                </a:moveTo>
                <a:cubicBezTo>
                  <a:pt x="259657" y="2462737"/>
                  <a:pt x="211304" y="2511090"/>
                  <a:pt x="211304" y="2570736"/>
                </a:cubicBezTo>
                <a:lnTo>
                  <a:pt x="211304" y="3582280"/>
                </a:lnTo>
                <a:cubicBezTo>
                  <a:pt x="211304" y="3641926"/>
                  <a:pt x="259657" y="3690279"/>
                  <a:pt x="319303" y="3690279"/>
                </a:cubicBezTo>
                <a:lnTo>
                  <a:pt x="2407191" y="3690279"/>
                </a:lnTo>
                <a:cubicBezTo>
                  <a:pt x="2466837" y="3690279"/>
                  <a:pt x="2515190" y="3641926"/>
                  <a:pt x="2515190" y="3582280"/>
                </a:cubicBezTo>
                <a:lnTo>
                  <a:pt x="2515190" y="2570736"/>
                </a:lnTo>
                <a:cubicBezTo>
                  <a:pt x="2515190" y="2511090"/>
                  <a:pt x="2466837" y="2462737"/>
                  <a:pt x="2407191" y="2462737"/>
                </a:cubicBezTo>
                <a:close/>
                <a:moveTo>
                  <a:pt x="0" y="0"/>
                </a:moveTo>
                <a:lnTo>
                  <a:pt x="2725737" y="0"/>
                </a:lnTo>
                <a:lnTo>
                  <a:pt x="2725737" y="3963987"/>
                </a:lnTo>
                <a:lnTo>
                  <a:pt x="0" y="396398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braz lub zdjęcie</a:t>
            </a:r>
            <a:endParaRPr lang="de-AT" dirty="0"/>
          </a:p>
          <a:p>
            <a:endParaRPr lang="de-DE" dirty="0"/>
          </a:p>
        </p:txBody>
      </p:sp>
      <p:sp>
        <p:nvSpPr>
          <p:cNvPr id="13" name="Bildplatzhalter 56">
            <a:extLst>
              <a:ext uri="{FF2B5EF4-FFF2-40B4-BE49-F238E27FC236}">
                <a16:creationId xmlns:a16="http://schemas.microsoft.com/office/drawing/2014/main" id="{2014DEE9-E29F-8743-AD73-19988E954E42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9066214" y="2291386"/>
            <a:ext cx="2725737" cy="3963987"/>
          </a:xfrm>
          <a:custGeom>
            <a:avLst/>
            <a:gdLst>
              <a:gd name="connsiteX0" fmla="*/ 318924 w 2725737"/>
              <a:gd name="connsiteY0" fmla="*/ 2462737 h 3963987"/>
              <a:gd name="connsiteX1" fmla="*/ 210925 w 2725737"/>
              <a:gd name="connsiteY1" fmla="*/ 2570736 h 3963987"/>
              <a:gd name="connsiteX2" fmla="*/ 210925 w 2725737"/>
              <a:gd name="connsiteY2" fmla="*/ 3582280 h 3963987"/>
              <a:gd name="connsiteX3" fmla="*/ 318924 w 2725737"/>
              <a:gd name="connsiteY3" fmla="*/ 3690279 h 3963987"/>
              <a:gd name="connsiteX4" fmla="*/ 2406812 w 2725737"/>
              <a:gd name="connsiteY4" fmla="*/ 3690279 h 3963987"/>
              <a:gd name="connsiteX5" fmla="*/ 2514811 w 2725737"/>
              <a:gd name="connsiteY5" fmla="*/ 3582280 h 3963987"/>
              <a:gd name="connsiteX6" fmla="*/ 2514811 w 2725737"/>
              <a:gd name="connsiteY6" fmla="*/ 2570736 h 3963987"/>
              <a:gd name="connsiteX7" fmla="*/ 2406812 w 2725737"/>
              <a:gd name="connsiteY7" fmla="*/ 2462737 h 3963987"/>
              <a:gd name="connsiteX8" fmla="*/ 0 w 2725737"/>
              <a:gd name="connsiteY8" fmla="*/ 0 h 3963987"/>
              <a:gd name="connsiteX9" fmla="*/ 2725737 w 2725737"/>
              <a:gd name="connsiteY9" fmla="*/ 0 h 3963987"/>
              <a:gd name="connsiteX10" fmla="*/ 2725737 w 2725737"/>
              <a:gd name="connsiteY10" fmla="*/ 3963987 h 3963987"/>
              <a:gd name="connsiteX11" fmla="*/ 0 w 2725737"/>
              <a:gd name="connsiteY11" fmla="*/ 3963987 h 3963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725737" h="3963987">
                <a:moveTo>
                  <a:pt x="318924" y="2462737"/>
                </a:moveTo>
                <a:cubicBezTo>
                  <a:pt x="259278" y="2462737"/>
                  <a:pt x="210925" y="2511090"/>
                  <a:pt x="210925" y="2570736"/>
                </a:cubicBezTo>
                <a:lnTo>
                  <a:pt x="210925" y="3582280"/>
                </a:lnTo>
                <a:cubicBezTo>
                  <a:pt x="210925" y="3641926"/>
                  <a:pt x="259278" y="3690279"/>
                  <a:pt x="318924" y="3690279"/>
                </a:cubicBezTo>
                <a:lnTo>
                  <a:pt x="2406812" y="3690279"/>
                </a:lnTo>
                <a:cubicBezTo>
                  <a:pt x="2466458" y="3690279"/>
                  <a:pt x="2514811" y="3641926"/>
                  <a:pt x="2514811" y="3582280"/>
                </a:cubicBezTo>
                <a:lnTo>
                  <a:pt x="2514811" y="2570736"/>
                </a:lnTo>
                <a:cubicBezTo>
                  <a:pt x="2514811" y="2511090"/>
                  <a:pt x="2466458" y="2462737"/>
                  <a:pt x="2406812" y="2462737"/>
                </a:cubicBezTo>
                <a:close/>
                <a:moveTo>
                  <a:pt x="0" y="0"/>
                </a:moveTo>
                <a:lnTo>
                  <a:pt x="2725737" y="0"/>
                </a:lnTo>
                <a:lnTo>
                  <a:pt x="2725737" y="3963987"/>
                </a:lnTo>
                <a:lnTo>
                  <a:pt x="0" y="396398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braz lub zdjęcie</a:t>
            </a:r>
            <a:endParaRPr lang="de-AT" dirty="0"/>
          </a:p>
          <a:p>
            <a:endParaRPr lang="de-DE" dirty="0"/>
          </a:p>
        </p:txBody>
      </p:sp>
      <p:sp>
        <p:nvSpPr>
          <p:cNvPr id="14" name="Bildplatzhalter 43">
            <a:extLst>
              <a:ext uri="{FF2B5EF4-FFF2-40B4-BE49-F238E27FC236}">
                <a16:creationId xmlns:a16="http://schemas.microsoft.com/office/drawing/2014/main" id="{5A480FD4-E082-CE45-81FC-1AA0EA18027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3288896" y="2291386"/>
            <a:ext cx="2725737" cy="3963987"/>
          </a:xfrm>
          <a:custGeom>
            <a:avLst/>
            <a:gdLst>
              <a:gd name="connsiteX0" fmla="*/ 318924 w 2725737"/>
              <a:gd name="connsiteY0" fmla="*/ 2462737 h 3963987"/>
              <a:gd name="connsiteX1" fmla="*/ 210925 w 2725737"/>
              <a:gd name="connsiteY1" fmla="*/ 2570736 h 3963987"/>
              <a:gd name="connsiteX2" fmla="*/ 210925 w 2725737"/>
              <a:gd name="connsiteY2" fmla="*/ 3582280 h 3963987"/>
              <a:gd name="connsiteX3" fmla="*/ 318924 w 2725737"/>
              <a:gd name="connsiteY3" fmla="*/ 3690279 h 3963987"/>
              <a:gd name="connsiteX4" fmla="*/ 2406812 w 2725737"/>
              <a:gd name="connsiteY4" fmla="*/ 3690279 h 3963987"/>
              <a:gd name="connsiteX5" fmla="*/ 2514811 w 2725737"/>
              <a:gd name="connsiteY5" fmla="*/ 3582280 h 3963987"/>
              <a:gd name="connsiteX6" fmla="*/ 2514811 w 2725737"/>
              <a:gd name="connsiteY6" fmla="*/ 2570736 h 3963987"/>
              <a:gd name="connsiteX7" fmla="*/ 2406812 w 2725737"/>
              <a:gd name="connsiteY7" fmla="*/ 2462737 h 3963987"/>
              <a:gd name="connsiteX8" fmla="*/ 0 w 2725737"/>
              <a:gd name="connsiteY8" fmla="*/ 0 h 3963987"/>
              <a:gd name="connsiteX9" fmla="*/ 2725737 w 2725737"/>
              <a:gd name="connsiteY9" fmla="*/ 0 h 3963987"/>
              <a:gd name="connsiteX10" fmla="*/ 2725737 w 2725737"/>
              <a:gd name="connsiteY10" fmla="*/ 3963987 h 3963987"/>
              <a:gd name="connsiteX11" fmla="*/ 0 w 2725737"/>
              <a:gd name="connsiteY11" fmla="*/ 3963987 h 3963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725737" h="3963987">
                <a:moveTo>
                  <a:pt x="318924" y="2462737"/>
                </a:moveTo>
                <a:cubicBezTo>
                  <a:pt x="259278" y="2462737"/>
                  <a:pt x="210925" y="2511090"/>
                  <a:pt x="210925" y="2570736"/>
                </a:cubicBezTo>
                <a:lnTo>
                  <a:pt x="210925" y="3582280"/>
                </a:lnTo>
                <a:cubicBezTo>
                  <a:pt x="210925" y="3641926"/>
                  <a:pt x="259278" y="3690279"/>
                  <a:pt x="318924" y="3690279"/>
                </a:cubicBezTo>
                <a:lnTo>
                  <a:pt x="2406812" y="3690279"/>
                </a:lnTo>
                <a:cubicBezTo>
                  <a:pt x="2466458" y="3690279"/>
                  <a:pt x="2514811" y="3641926"/>
                  <a:pt x="2514811" y="3582280"/>
                </a:cubicBezTo>
                <a:lnTo>
                  <a:pt x="2514811" y="2570736"/>
                </a:lnTo>
                <a:cubicBezTo>
                  <a:pt x="2514811" y="2511090"/>
                  <a:pt x="2466458" y="2462737"/>
                  <a:pt x="2406812" y="2462737"/>
                </a:cubicBezTo>
                <a:close/>
                <a:moveTo>
                  <a:pt x="0" y="0"/>
                </a:moveTo>
                <a:lnTo>
                  <a:pt x="2725737" y="0"/>
                </a:lnTo>
                <a:lnTo>
                  <a:pt x="2725737" y="3963987"/>
                </a:lnTo>
                <a:lnTo>
                  <a:pt x="0" y="396398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braz lub zdjęcie</a:t>
            </a:r>
            <a:endParaRPr lang="de-AT" dirty="0"/>
          </a:p>
          <a:p>
            <a:endParaRPr lang="de-DE" dirty="0"/>
          </a:p>
        </p:txBody>
      </p:sp>
      <p:sp>
        <p:nvSpPr>
          <p:cNvPr id="15" name="Bildplatzhalter 49">
            <a:extLst>
              <a:ext uri="{FF2B5EF4-FFF2-40B4-BE49-F238E27FC236}">
                <a16:creationId xmlns:a16="http://schemas.microsoft.com/office/drawing/2014/main" id="{C76B752B-42B0-214C-B03B-4AD85BEEC0B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77555" y="2291386"/>
            <a:ext cx="2725737" cy="3963987"/>
          </a:xfrm>
          <a:custGeom>
            <a:avLst/>
            <a:gdLst>
              <a:gd name="connsiteX0" fmla="*/ 318924 w 2725737"/>
              <a:gd name="connsiteY0" fmla="*/ 2462737 h 3963987"/>
              <a:gd name="connsiteX1" fmla="*/ 210925 w 2725737"/>
              <a:gd name="connsiteY1" fmla="*/ 2570736 h 3963987"/>
              <a:gd name="connsiteX2" fmla="*/ 210925 w 2725737"/>
              <a:gd name="connsiteY2" fmla="*/ 3582280 h 3963987"/>
              <a:gd name="connsiteX3" fmla="*/ 318924 w 2725737"/>
              <a:gd name="connsiteY3" fmla="*/ 3690279 h 3963987"/>
              <a:gd name="connsiteX4" fmla="*/ 2406812 w 2725737"/>
              <a:gd name="connsiteY4" fmla="*/ 3690279 h 3963987"/>
              <a:gd name="connsiteX5" fmla="*/ 2514811 w 2725737"/>
              <a:gd name="connsiteY5" fmla="*/ 3582280 h 3963987"/>
              <a:gd name="connsiteX6" fmla="*/ 2514811 w 2725737"/>
              <a:gd name="connsiteY6" fmla="*/ 2570736 h 3963987"/>
              <a:gd name="connsiteX7" fmla="*/ 2406812 w 2725737"/>
              <a:gd name="connsiteY7" fmla="*/ 2462737 h 3963987"/>
              <a:gd name="connsiteX8" fmla="*/ 0 w 2725737"/>
              <a:gd name="connsiteY8" fmla="*/ 0 h 3963987"/>
              <a:gd name="connsiteX9" fmla="*/ 2725737 w 2725737"/>
              <a:gd name="connsiteY9" fmla="*/ 0 h 3963987"/>
              <a:gd name="connsiteX10" fmla="*/ 2725737 w 2725737"/>
              <a:gd name="connsiteY10" fmla="*/ 3963987 h 3963987"/>
              <a:gd name="connsiteX11" fmla="*/ 0 w 2725737"/>
              <a:gd name="connsiteY11" fmla="*/ 3963987 h 3963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725737" h="3963987">
                <a:moveTo>
                  <a:pt x="318924" y="2462737"/>
                </a:moveTo>
                <a:cubicBezTo>
                  <a:pt x="259278" y="2462737"/>
                  <a:pt x="210925" y="2511090"/>
                  <a:pt x="210925" y="2570736"/>
                </a:cubicBezTo>
                <a:lnTo>
                  <a:pt x="210925" y="3582280"/>
                </a:lnTo>
                <a:cubicBezTo>
                  <a:pt x="210925" y="3641926"/>
                  <a:pt x="259278" y="3690279"/>
                  <a:pt x="318924" y="3690279"/>
                </a:cubicBezTo>
                <a:lnTo>
                  <a:pt x="2406812" y="3690279"/>
                </a:lnTo>
                <a:cubicBezTo>
                  <a:pt x="2466458" y="3690279"/>
                  <a:pt x="2514811" y="3641926"/>
                  <a:pt x="2514811" y="3582280"/>
                </a:cubicBezTo>
                <a:lnTo>
                  <a:pt x="2514811" y="2570736"/>
                </a:lnTo>
                <a:cubicBezTo>
                  <a:pt x="2514811" y="2511090"/>
                  <a:pt x="2466458" y="2462737"/>
                  <a:pt x="2406812" y="2462737"/>
                </a:cubicBezTo>
                <a:close/>
                <a:moveTo>
                  <a:pt x="0" y="0"/>
                </a:moveTo>
                <a:lnTo>
                  <a:pt x="2725737" y="0"/>
                </a:lnTo>
                <a:lnTo>
                  <a:pt x="2725737" y="3963987"/>
                </a:lnTo>
                <a:lnTo>
                  <a:pt x="0" y="396398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Obraz lub zdjęcie</a:t>
            </a:r>
            <a:endParaRPr lang="de-AT" dirty="0"/>
          </a:p>
          <a:p>
            <a:endParaRPr lang="de-DE" dirty="0"/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81E3E858-38AB-AA41-A3D6-62C6EEE47E48}"/>
              </a:ext>
            </a:extLst>
          </p:cNvPr>
          <p:cNvSpPr/>
          <p:nvPr userDrawn="1"/>
        </p:nvSpPr>
        <p:spPr>
          <a:xfrm>
            <a:off x="611162" y="4754123"/>
            <a:ext cx="2303886" cy="1227542"/>
          </a:xfrm>
          <a:prstGeom prst="roundRect">
            <a:avLst>
              <a:gd name="adj" fmla="val 8798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AAFED66C-B49C-DA4E-B35A-CF4B6C19E0DA}"/>
              </a:ext>
            </a:extLst>
          </p:cNvPr>
          <p:cNvSpPr/>
          <p:nvPr userDrawn="1"/>
        </p:nvSpPr>
        <p:spPr>
          <a:xfrm>
            <a:off x="3499821" y="4754123"/>
            <a:ext cx="2303886" cy="1227542"/>
          </a:xfrm>
          <a:prstGeom prst="roundRect">
            <a:avLst>
              <a:gd name="adj" fmla="val 8798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5EC565F7-4063-214F-AA30-96118DA6E035}"/>
              </a:ext>
            </a:extLst>
          </p:cNvPr>
          <p:cNvSpPr/>
          <p:nvPr userDrawn="1"/>
        </p:nvSpPr>
        <p:spPr>
          <a:xfrm>
            <a:off x="6388480" y="4754123"/>
            <a:ext cx="2303886" cy="1227542"/>
          </a:xfrm>
          <a:prstGeom prst="roundRect">
            <a:avLst>
              <a:gd name="adj" fmla="val 8798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B6A7C1A7-9C7E-C140-ABA7-739B44463D0C}"/>
              </a:ext>
            </a:extLst>
          </p:cNvPr>
          <p:cNvSpPr/>
          <p:nvPr userDrawn="1"/>
        </p:nvSpPr>
        <p:spPr>
          <a:xfrm>
            <a:off x="9277139" y="4754123"/>
            <a:ext cx="2303886" cy="1227542"/>
          </a:xfrm>
          <a:prstGeom prst="roundRect">
            <a:avLst>
              <a:gd name="adj" fmla="val 8798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314B57D2-4A36-E545-8C79-4DCCE0B57DAF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866993" y="4960858"/>
            <a:ext cx="1792225" cy="81407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de-DE" sz="18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 dirty="0"/>
              <a:t>Treść</a:t>
            </a:r>
            <a:endParaRPr lang="de-AT" dirty="0"/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239D7035-D73B-7748-A504-8D20EECA4777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3755652" y="4960858"/>
            <a:ext cx="1792225" cy="81407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de-DE" sz="18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 dirty="0"/>
              <a:t>Treść</a:t>
            </a:r>
            <a:endParaRPr lang="de-AT" dirty="0"/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B10F1A31-8C87-9E4C-BFC5-31A7833020DF}"/>
              </a:ext>
            </a:extLst>
          </p:cNvPr>
          <p:cNvSpPr>
            <a:spLocks noGrp="1"/>
          </p:cNvSpPr>
          <p:nvPr>
            <p:ph type="body" sz="half" idx="42" hasCustomPrompt="1"/>
          </p:nvPr>
        </p:nvSpPr>
        <p:spPr>
          <a:xfrm>
            <a:off x="6644311" y="4960858"/>
            <a:ext cx="1792225" cy="81407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de-DE" sz="18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 dirty="0"/>
              <a:t>Treść</a:t>
            </a:r>
            <a:endParaRPr lang="de-AT" dirty="0"/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21DD20F1-F3C4-4644-A09E-EDFB6EC53E8C}"/>
              </a:ext>
            </a:extLst>
          </p:cNvPr>
          <p:cNvSpPr>
            <a:spLocks noGrp="1"/>
          </p:cNvSpPr>
          <p:nvPr>
            <p:ph type="body" sz="half" idx="47" hasCustomPrompt="1"/>
          </p:nvPr>
        </p:nvSpPr>
        <p:spPr>
          <a:xfrm>
            <a:off x="9532970" y="4960858"/>
            <a:ext cx="1792225" cy="81407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de-DE" sz="18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 dirty="0"/>
              <a:t>Treść</a:t>
            </a:r>
            <a:endParaRPr lang="de-AT" dirty="0"/>
          </a:p>
        </p:txBody>
      </p:sp>
      <p:sp>
        <p:nvSpPr>
          <p:cNvPr id="31" name="Titel 1">
            <a:extLst>
              <a:ext uri="{FF2B5EF4-FFF2-40B4-BE49-F238E27FC236}">
                <a16:creationId xmlns:a16="http://schemas.microsoft.com/office/drawing/2014/main" id="{12721DA4-4F6A-B42D-D38A-B46494857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32" name="Gerade Verbindung 31">
            <a:extLst>
              <a:ext uri="{FF2B5EF4-FFF2-40B4-BE49-F238E27FC236}">
                <a16:creationId xmlns:a16="http://schemas.microsoft.com/office/drawing/2014/main" id="{0FC04EE4-112D-D65E-48AA-1449C8A5DAF8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3D7B91A7-D4DF-6537-99B3-81897E40305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2B56D632-ACD7-9774-5A31-F544C4B381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21" name="Datumsplatzhalter 3">
            <a:extLst>
              <a:ext uri="{FF2B5EF4-FFF2-40B4-BE49-F238E27FC236}">
                <a16:creationId xmlns:a16="http://schemas.microsoft.com/office/drawing/2014/main" id="{66E30613-319E-FD45-9BA3-EA7375D34A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EE26DEA5-1097-4F37-BC1C-9383BC0EB86C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D25E1597-2D6E-9141-92FF-2F50B13ADE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4416D716-4E5B-734C-B5F2-00F86E1A51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894171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1_Obraz na całej powierzchn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41F156D-E6E2-8342-9C55-F2D9EA64BBF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AT"/>
              <a:t>.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32936719-9259-604F-B5BC-D57A065421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81848" y="382244"/>
            <a:ext cx="1232315" cy="221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03289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2_Obraz na całej powierzchni + pętl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9CF81915-61B3-1B4A-B27C-0BDA7244B36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l-PL"/>
              <a:t>Kliknij ikonę, aby dodać obraz</a:t>
            </a:r>
            <a:endParaRPr lang="de-AT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FB071B8-153E-E647-A6E6-AC9C197705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1847850" y="-388621"/>
            <a:ext cx="16569074" cy="12396088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pl-PL"/>
              <a:t>Kliknij, aby edytować style wzorca tekstu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32936719-9259-604F-B5BC-D57A065421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81848" y="382244"/>
            <a:ext cx="1232315" cy="221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1678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1_Cy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E6A674D-D221-4ADB-98C5-DBC4293240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4744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1" imgH="412" progId="TCLayout.ActiveDocument.1">
                  <p:embed/>
                </p:oleObj>
              </mc:Choice>
              <mc:Fallback>
                <p:oleObj name="think-cell Folie" r:id="rId3" imgW="411" imgH="4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E6A674D-D221-4ADB-98C5-DBC4293240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E4BD7E79-E46A-D443-84E6-FE254D27C86F}"/>
              </a:ext>
            </a:extLst>
          </p:cNvPr>
          <p:cNvSpPr/>
          <p:nvPr userDrawn="1"/>
        </p:nvSpPr>
        <p:spPr>
          <a:xfrm>
            <a:off x="393363" y="1262098"/>
            <a:ext cx="11398587" cy="4991081"/>
          </a:xfrm>
          <a:prstGeom prst="roundRect">
            <a:avLst>
              <a:gd name="adj" fmla="val 27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DF96072B-6D09-D347-8F9E-05C2325472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1099" y="2493819"/>
            <a:ext cx="9529801" cy="2738420"/>
          </a:xfrm>
        </p:spPr>
        <p:txBody>
          <a:bodyPr vert="horz" lIns="0" tIns="0" rIns="0" bIns="0" anchor="t" anchorCtr="0">
            <a:noAutofit/>
          </a:bodyPr>
          <a:lstStyle>
            <a:lvl1pPr algn="ctr">
              <a:lnSpc>
                <a:spcPct val="100000"/>
              </a:lnSpc>
              <a:defRPr sz="54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l-PL" dirty="0"/>
              <a:t>Cytat</a:t>
            </a:r>
            <a:endParaRPr lang="de-AT" dirty="0"/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58E9099A-97DE-9449-9DE4-D7B92CC92CA0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3626260" y="5348633"/>
            <a:ext cx="4939478" cy="27699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Imię Nazwisko autora</a:t>
            </a:r>
            <a:endParaRPr lang="de-AT" dirty="0"/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CA819CB2-B89B-3944-B00F-D180801F72D2}"/>
              </a:ext>
            </a:extLst>
          </p:cNvPr>
          <p:cNvSpPr txBox="1">
            <a:spLocks/>
          </p:cNvSpPr>
          <p:nvPr userDrawn="1"/>
        </p:nvSpPr>
        <p:spPr>
          <a:xfrm>
            <a:off x="5706287" y="1625762"/>
            <a:ext cx="779424" cy="7516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i="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AT" sz="9000"/>
              <a:t>“</a:t>
            </a:r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16657002-E5CF-289F-C895-BE458969490E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62D73E5A-EE50-11C9-377C-0B2705BEAE1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E3114B73-7985-4789-B949-ADC68FF0848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F8981014-95BE-8346-B091-D186BA68D8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FF57180C-68A7-4F69-9023-287613FA2CB6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730682B1-E1C4-E443-8B1D-AB51505DAF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98F5E393-8213-F849-B88E-D5A9FF9521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357777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1_Kontakt + zdję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ihandform 27">
            <a:extLst>
              <a:ext uri="{FF2B5EF4-FFF2-40B4-BE49-F238E27FC236}">
                <a16:creationId xmlns:a16="http://schemas.microsoft.com/office/drawing/2014/main" id="{70AC9992-FC90-557E-6E3B-3978F917CF6A}"/>
              </a:ext>
            </a:extLst>
          </p:cNvPr>
          <p:cNvSpPr/>
          <p:nvPr userDrawn="1"/>
        </p:nvSpPr>
        <p:spPr>
          <a:xfrm>
            <a:off x="0" y="1700217"/>
            <a:ext cx="11791951" cy="4015218"/>
          </a:xfrm>
          <a:custGeom>
            <a:avLst/>
            <a:gdLst>
              <a:gd name="connsiteX0" fmla="*/ 0 w 11712575"/>
              <a:gd name="connsiteY0" fmla="*/ 0 h 4031191"/>
              <a:gd name="connsiteX1" fmla="*/ 11594622 w 11712575"/>
              <a:gd name="connsiteY1" fmla="*/ 0 h 4031191"/>
              <a:gd name="connsiteX2" fmla="*/ 11712575 w 11712575"/>
              <a:gd name="connsiteY2" fmla="*/ 117953 h 4031191"/>
              <a:gd name="connsiteX3" fmla="*/ 11712575 w 11712575"/>
              <a:gd name="connsiteY3" fmla="*/ 3913238 h 4031191"/>
              <a:gd name="connsiteX4" fmla="*/ 11594622 w 11712575"/>
              <a:gd name="connsiteY4" fmla="*/ 4031191 h 4031191"/>
              <a:gd name="connsiteX5" fmla="*/ 0 w 11712575"/>
              <a:gd name="connsiteY5" fmla="*/ 4031191 h 4031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12575" h="4031191">
                <a:moveTo>
                  <a:pt x="0" y="0"/>
                </a:moveTo>
                <a:lnTo>
                  <a:pt x="11594622" y="0"/>
                </a:lnTo>
                <a:cubicBezTo>
                  <a:pt x="11659766" y="0"/>
                  <a:pt x="11712575" y="52809"/>
                  <a:pt x="11712575" y="117953"/>
                </a:cubicBezTo>
                <a:lnTo>
                  <a:pt x="11712575" y="3913238"/>
                </a:lnTo>
                <a:cubicBezTo>
                  <a:pt x="11712575" y="3978382"/>
                  <a:pt x="11659766" y="4031191"/>
                  <a:pt x="11594622" y="4031191"/>
                </a:cubicBezTo>
                <a:lnTo>
                  <a:pt x="0" y="403119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Bildplatzhalter 4">
            <a:extLst>
              <a:ext uri="{FF2B5EF4-FFF2-40B4-BE49-F238E27FC236}">
                <a16:creationId xmlns:a16="http://schemas.microsoft.com/office/drawing/2014/main" id="{C3EFCC50-F1D5-704D-8389-7E8925274CA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3363" y="1144122"/>
            <a:ext cx="5040000" cy="51114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pl-PL"/>
              <a:t>Kliknij ikonę, aby dodać obraz</a:t>
            </a:r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647C47E8-C14E-E34E-9B01-865490EEBD0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262274" y="2622043"/>
            <a:ext cx="5174177" cy="4798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Imię Nazwisko</a:t>
            </a:r>
            <a:endParaRPr lang="de-AT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E4CFC47B-3683-CE48-9782-782891B3A31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62274" y="3298032"/>
            <a:ext cx="5174177" cy="28383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Stanowisko</a:t>
            </a:r>
            <a:endParaRPr lang="de-AT" dirty="0"/>
          </a:p>
        </p:txBody>
      </p:sp>
      <p:pic>
        <p:nvPicPr>
          <p:cNvPr id="63" name="Grafik 62">
            <a:extLst>
              <a:ext uri="{FF2B5EF4-FFF2-40B4-BE49-F238E27FC236}">
                <a16:creationId xmlns:a16="http://schemas.microsoft.com/office/drawing/2014/main" id="{0D93D5E7-C8FB-DF40-901D-162BE00CAB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71296" y="4570584"/>
            <a:ext cx="361761" cy="361761"/>
          </a:xfrm>
          <a:prstGeom prst="rect">
            <a:avLst/>
          </a:prstGeom>
        </p:spPr>
      </p:pic>
      <p:pic>
        <p:nvPicPr>
          <p:cNvPr id="64" name="Grafik 63">
            <a:extLst>
              <a:ext uri="{FF2B5EF4-FFF2-40B4-BE49-F238E27FC236}">
                <a16:creationId xmlns:a16="http://schemas.microsoft.com/office/drawing/2014/main" id="{3D70B6B3-5C44-884D-B2A6-5A7EC1E6E66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 flipV="1">
            <a:off x="6152519" y="4056490"/>
            <a:ext cx="399315" cy="399315"/>
          </a:xfrm>
          <a:prstGeom prst="rect">
            <a:avLst/>
          </a:prstGeom>
        </p:spPr>
      </p:pic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C8649C12-52B1-9B4B-94B9-CB1268A3F8D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709028" y="4150086"/>
            <a:ext cx="4727424" cy="21212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Tel.</a:t>
            </a:r>
          </a:p>
        </p:txBody>
      </p:sp>
      <p:sp>
        <p:nvSpPr>
          <p:cNvPr id="66" name="Textplatzhalter 2">
            <a:extLst>
              <a:ext uri="{FF2B5EF4-FFF2-40B4-BE49-F238E27FC236}">
                <a16:creationId xmlns:a16="http://schemas.microsoft.com/office/drawing/2014/main" id="{33DADB90-6808-6A44-966E-09AAE02EC04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709027" y="4645402"/>
            <a:ext cx="4727424" cy="21212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e-mail</a:t>
            </a:r>
            <a:endParaRPr lang="de-AT" dirty="0"/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BD2C6442-4BC7-247E-CA30-778AF1E1E3D2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3ED397EB-6B82-8506-69D3-5273DE17A5E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E367B4BF-2DE7-25D7-A20C-B875FF1259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16" name="Datumsplatzhalter 3">
            <a:extLst>
              <a:ext uri="{FF2B5EF4-FFF2-40B4-BE49-F238E27FC236}">
                <a16:creationId xmlns:a16="http://schemas.microsoft.com/office/drawing/2014/main" id="{1CEA847A-0644-AD4D-8D60-9F173B40D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78874C61-1793-49AA-A17A-5F8F680E549C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775E52A3-1053-4242-91A5-3EC02FACC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96A76B98-AE2C-7B40-9377-7680E005FE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7076732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2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ihandform 32">
            <a:extLst>
              <a:ext uri="{FF2B5EF4-FFF2-40B4-BE49-F238E27FC236}">
                <a16:creationId xmlns:a16="http://schemas.microsoft.com/office/drawing/2014/main" id="{CC6910AA-685B-939B-F5CB-F512870F08E5}"/>
              </a:ext>
            </a:extLst>
          </p:cNvPr>
          <p:cNvSpPr/>
          <p:nvPr userDrawn="1"/>
        </p:nvSpPr>
        <p:spPr>
          <a:xfrm>
            <a:off x="0" y="1700219"/>
            <a:ext cx="11791951" cy="4015216"/>
          </a:xfrm>
          <a:custGeom>
            <a:avLst/>
            <a:gdLst>
              <a:gd name="connsiteX0" fmla="*/ 0 w 11712575"/>
              <a:gd name="connsiteY0" fmla="*/ 0 h 4031191"/>
              <a:gd name="connsiteX1" fmla="*/ 11594622 w 11712575"/>
              <a:gd name="connsiteY1" fmla="*/ 0 h 4031191"/>
              <a:gd name="connsiteX2" fmla="*/ 11712575 w 11712575"/>
              <a:gd name="connsiteY2" fmla="*/ 117953 h 4031191"/>
              <a:gd name="connsiteX3" fmla="*/ 11712575 w 11712575"/>
              <a:gd name="connsiteY3" fmla="*/ 3913238 h 4031191"/>
              <a:gd name="connsiteX4" fmla="*/ 11594622 w 11712575"/>
              <a:gd name="connsiteY4" fmla="*/ 4031191 h 4031191"/>
              <a:gd name="connsiteX5" fmla="*/ 0 w 11712575"/>
              <a:gd name="connsiteY5" fmla="*/ 4031191 h 4031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12575" h="4031191">
                <a:moveTo>
                  <a:pt x="0" y="0"/>
                </a:moveTo>
                <a:lnTo>
                  <a:pt x="11594622" y="0"/>
                </a:lnTo>
                <a:cubicBezTo>
                  <a:pt x="11659766" y="0"/>
                  <a:pt x="11712575" y="52809"/>
                  <a:pt x="11712575" y="117953"/>
                </a:cubicBezTo>
                <a:lnTo>
                  <a:pt x="11712575" y="3913238"/>
                </a:lnTo>
                <a:cubicBezTo>
                  <a:pt x="11712575" y="3978382"/>
                  <a:pt x="11659766" y="4031191"/>
                  <a:pt x="11594622" y="4031191"/>
                </a:cubicBezTo>
                <a:lnTo>
                  <a:pt x="0" y="403119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04D01C21-A07E-C2F2-449F-4C9AFC8980C8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AB7964D2-35FC-954C-B337-81BB67256D8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A701F708-E1B1-D248-08AE-ABECA6AFD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15" name="Datumsplatzhalter 3">
            <a:extLst>
              <a:ext uri="{FF2B5EF4-FFF2-40B4-BE49-F238E27FC236}">
                <a16:creationId xmlns:a16="http://schemas.microsoft.com/office/drawing/2014/main" id="{70CE856F-EBCD-AA43-9443-5D77788056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278DB994-799D-4579-843D-6D8FC0631BDB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7E656CC6-5C1D-2345-B3AB-AA4EFC5BA8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A96CCE2D-2EB7-F64E-B47E-4027D7FDC6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913943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_Separator niebieski + obrazek i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2355B69-0D23-5051-BAA5-821C5D95543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pl-PL"/>
              <a:t>Kliknij ikonę, aby dodać obraz</a:t>
            </a:r>
            <a:endParaRPr lang="de-DE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A67073DC-D0C7-2045-801F-CFF0C34022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363" y="1282182"/>
            <a:ext cx="5616575" cy="4993200"/>
          </a:xfrm>
          <a:prstGeom prst="roundRect">
            <a:avLst>
              <a:gd name="adj" fmla="val 2132"/>
            </a:avLst>
          </a:prstGeom>
          <a:solidFill>
            <a:schemeClr val="tx2">
              <a:alpha val="70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2">
                    <a:alpha val="70000"/>
                  </a:schemeClr>
                </a:solidFill>
              </a:defRPr>
            </a:lvl1pPr>
          </a:lstStyle>
          <a:p>
            <a:pPr lvl="0"/>
            <a:r>
              <a:rPr lang="de-AT" dirty="0"/>
              <a:t>.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6511D275-9E6B-D248-B953-A7202BC4ECA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40200" y="382244"/>
            <a:ext cx="1173963" cy="211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platzhalter 2">
            <a:extLst>
              <a:ext uri="{FF2B5EF4-FFF2-40B4-BE49-F238E27FC236}">
                <a16:creationId xmlns:a16="http://schemas.microsoft.com/office/drawing/2014/main" id="{E8360966-4D0D-BA4F-AB62-06C1128F7D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84654" y="3820536"/>
            <a:ext cx="4633992" cy="184390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Tytuł </a:t>
            </a:r>
            <a:endParaRPr lang="de-AT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915E0AF7-B0B1-704D-96D6-A764A3822A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4654" y="1736267"/>
            <a:ext cx="4633992" cy="1823220"/>
          </a:xfrm>
        </p:spPr>
        <p:txBody>
          <a:bodyPr lIns="0" tIns="0" rIns="0" bIns="0" anchor="t" anchorCtr="0">
            <a:noAutofit/>
          </a:bodyPr>
          <a:lstStyle>
            <a:lvl1pPr>
              <a:defRPr sz="15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AT" dirty="0"/>
              <a:t>01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FA42240-DA64-484D-A491-2D9DE9C80D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3363" y="168275"/>
            <a:ext cx="1067137" cy="193675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0246790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1_Zakończen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98AA96B7-C47B-4F50-A4C0-9D730504B3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301" t="15258" b="16881"/>
          <a:stretch/>
        </p:blipFill>
        <p:spPr>
          <a:xfrm>
            <a:off x="0" y="0"/>
            <a:ext cx="11278064" cy="6858000"/>
          </a:xfrm>
          <a:custGeom>
            <a:avLst/>
            <a:gdLst>
              <a:gd name="connsiteX0" fmla="*/ 0 w 10767828"/>
              <a:gd name="connsiteY0" fmla="*/ 0 h 6858000"/>
              <a:gd name="connsiteX1" fmla="*/ 10767828 w 10767828"/>
              <a:gd name="connsiteY1" fmla="*/ 0 h 6858000"/>
              <a:gd name="connsiteX2" fmla="*/ 10767828 w 10767828"/>
              <a:gd name="connsiteY2" fmla="*/ 6858000 h 6858000"/>
              <a:gd name="connsiteX3" fmla="*/ 0 w 1076782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67828" h="6858000">
                <a:moveTo>
                  <a:pt x="0" y="0"/>
                </a:moveTo>
                <a:lnTo>
                  <a:pt x="10767828" y="0"/>
                </a:lnTo>
                <a:lnTo>
                  <a:pt x="10767828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87A4C6CD-2D91-9246-B726-0FCC298BA46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309846" y="2170348"/>
            <a:ext cx="10482104" cy="251730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0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Dziękuję</a:t>
            </a:r>
            <a:r>
              <a:rPr lang="de-AT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7890736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2_Zakończenie + obraz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>
            <a:extLst>
              <a:ext uri="{FF2B5EF4-FFF2-40B4-BE49-F238E27FC236}">
                <a16:creationId xmlns:a16="http://schemas.microsoft.com/office/drawing/2014/main" id="{7A4756D2-842A-1B45-A183-55BDB75704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6436" t="15926" r="17101" b="15926"/>
          <a:stretch/>
        </p:blipFill>
        <p:spPr>
          <a:xfrm>
            <a:off x="1932021" y="0"/>
            <a:ext cx="10259979" cy="6858000"/>
          </a:xfrm>
          <a:custGeom>
            <a:avLst/>
            <a:gdLst>
              <a:gd name="connsiteX0" fmla="*/ 0 w 9632062"/>
              <a:gd name="connsiteY0" fmla="*/ 0 h 6858000"/>
              <a:gd name="connsiteX1" fmla="*/ 9632062 w 9632062"/>
              <a:gd name="connsiteY1" fmla="*/ 0 h 6858000"/>
              <a:gd name="connsiteX2" fmla="*/ 9632062 w 9632062"/>
              <a:gd name="connsiteY2" fmla="*/ 6858000 h 6858000"/>
              <a:gd name="connsiteX3" fmla="*/ 0 w 96320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32062" h="6858000">
                <a:moveTo>
                  <a:pt x="0" y="0"/>
                </a:moveTo>
                <a:lnTo>
                  <a:pt x="9632062" y="0"/>
                </a:lnTo>
                <a:lnTo>
                  <a:pt x="9632062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6" name="Bildplatzhalter 4">
            <a:extLst>
              <a:ext uri="{FF2B5EF4-FFF2-40B4-BE49-F238E27FC236}">
                <a16:creationId xmlns:a16="http://schemas.microsoft.com/office/drawing/2014/main" id="{ED78EE50-0578-AF47-8842-CC9A88D0A0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pl-PL"/>
              <a:t>Kliknij ikonę, aby dodać obraz</a:t>
            </a:r>
            <a:endParaRPr lang="de-DE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87A4C6CD-2D91-9246-B726-0FCC298BA46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603999" y="2513248"/>
            <a:ext cx="5187951" cy="251730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Dziękuję</a:t>
            </a:r>
            <a:endParaRPr lang="de-AT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3673C88C-2636-104F-8E7F-F5561703CDA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603998" y="5402447"/>
            <a:ext cx="5187952" cy="28383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za Wasz udział</a:t>
            </a:r>
            <a:endParaRPr lang="de-AT" dirty="0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25BB3B52-E845-964B-BCB8-1EBD8A90585B}"/>
              </a:ext>
            </a:extLst>
          </p:cNvPr>
          <p:cNvGrpSpPr/>
          <p:nvPr userDrawn="1"/>
        </p:nvGrpSpPr>
        <p:grpSpPr>
          <a:xfrm>
            <a:off x="396876" y="482143"/>
            <a:ext cx="1798639" cy="313459"/>
            <a:chOff x="484807" y="407395"/>
            <a:chExt cx="1200754" cy="209262"/>
          </a:xfrm>
        </p:grpSpPr>
        <p:sp>
          <p:nvSpPr>
            <p:cNvPr id="28" name="Freihandform 27">
              <a:extLst>
                <a:ext uri="{FF2B5EF4-FFF2-40B4-BE49-F238E27FC236}">
                  <a16:creationId xmlns:a16="http://schemas.microsoft.com/office/drawing/2014/main" id="{FC0004A2-1700-7743-8815-4C632F9C117F}"/>
                </a:ext>
              </a:extLst>
            </p:cNvPr>
            <p:cNvSpPr/>
            <p:nvPr userDrawn="1"/>
          </p:nvSpPr>
          <p:spPr>
            <a:xfrm>
              <a:off x="484807" y="585448"/>
              <a:ext cx="117273" cy="23186"/>
            </a:xfrm>
            <a:custGeom>
              <a:avLst/>
              <a:gdLst>
                <a:gd name="connsiteX0" fmla="*/ 117255 w 117273"/>
                <a:gd name="connsiteY0" fmla="*/ 23160 h 23186"/>
                <a:gd name="connsiteX1" fmla="*/ -18 w 117273"/>
                <a:gd name="connsiteY1" fmla="*/ 23160 h 23186"/>
                <a:gd name="connsiteX2" fmla="*/ 13403 w 117273"/>
                <a:gd name="connsiteY2" fmla="*/ -26 h 23186"/>
                <a:gd name="connsiteX3" fmla="*/ 82269 w 117273"/>
                <a:gd name="connsiteY3" fmla="*/ -26 h 23186"/>
                <a:gd name="connsiteX4" fmla="*/ 91651 w 117273"/>
                <a:gd name="connsiteY4" fmla="*/ 7682 h 23186"/>
                <a:gd name="connsiteX5" fmla="*/ 117255 w 117273"/>
                <a:gd name="connsiteY5" fmla="*/ 23160 h 23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7273" h="23186">
                  <a:moveTo>
                    <a:pt x="117255" y="23160"/>
                  </a:moveTo>
                  <a:lnTo>
                    <a:pt x="-18" y="23160"/>
                  </a:lnTo>
                  <a:lnTo>
                    <a:pt x="13403" y="-26"/>
                  </a:lnTo>
                  <a:lnTo>
                    <a:pt x="82269" y="-26"/>
                  </a:lnTo>
                  <a:cubicBezTo>
                    <a:pt x="85259" y="2696"/>
                    <a:pt x="88390" y="5268"/>
                    <a:pt x="91651" y="7682"/>
                  </a:cubicBezTo>
                  <a:cubicBezTo>
                    <a:pt x="99618" y="13675"/>
                    <a:pt x="108198" y="18862"/>
                    <a:pt x="117255" y="23160"/>
                  </a:cubicBezTo>
                  <a:close/>
                </a:path>
              </a:pathLst>
            </a:custGeom>
            <a:solidFill>
              <a:schemeClr val="bg1"/>
            </a:solidFill>
            <a:ln w="64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29" name="Freihandform 28">
              <a:extLst>
                <a:ext uri="{FF2B5EF4-FFF2-40B4-BE49-F238E27FC236}">
                  <a16:creationId xmlns:a16="http://schemas.microsoft.com/office/drawing/2014/main" id="{92C5DEAD-D76C-014E-BBE2-6EE8BD36252A}"/>
                </a:ext>
              </a:extLst>
            </p:cNvPr>
            <p:cNvSpPr/>
            <p:nvPr userDrawn="1"/>
          </p:nvSpPr>
          <p:spPr>
            <a:xfrm>
              <a:off x="585765" y="440327"/>
              <a:ext cx="246498" cy="170138"/>
            </a:xfrm>
            <a:custGeom>
              <a:avLst/>
              <a:gdLst>
                <a:gd name="connsiteX0" fmla="*/ 42033 w 246498"/>
                <a:gd name="connsiteY0" fmla="*/ -26 h 170138"/>
                <a:gd name="connsiteX1" fmla="*/ 43792 w 246498"/>
                <a:gd name="connsiteY1" fmla="*/ 88423 h 170138"/>
                <a:gd name="connsiteX2" fmla="*/ 79039 w 246498"/>
                <a:gd name="connsiteY2" fmla="*/ 121845 h 170138"/>
                <a:gd name="connsiteX3" fmla="*/ 110312 w 246498"/>
                <a:gd name="connsiteY3" fmla="*/ 134038 h 170138"/>
                <a:gd name="connsiteX4" fmla="*/ 161587 w 246498"/>
                <a:gd name="connsiteY4" fmla="*/ 139471 h 170138"/>
                <a:gd name="connsiteX5" fmla="*/ 223547 w 246498"/>
                <a:gd name="connsiteY5" fmla="*/ 140608 h 170138"/>
                <a:gd name="connsiteX6" fmla="*/ 230518 w 246498"/>
                <a:gd name="connsiteY6" fmla="*/ 140608 h 170138"/>
                <a:gd name="connsiteX7" fmla="*/ 246480 w 246498"/>
                <a:gd name="connsiteY7" fmla="*/ 170113 h 170138"/>
                <a:gd name="connsiteX8" fmla="*/ 167125 w 246498"/>
                <a:gd name="connsiteY8" fmla="*/ 169039 h 170138"/>
                <a:gd name="connsiteX9" fmla="*/ 102559 w 246498"/>
                <a:gd name="connsiteY9" fmla="*/ 162279 h 170138"/>
                <a:gd name="connsiteX10" fmla="*/ 63468 w 246498"/>
                <a:gd name="connsiteY10" fmla="*/ 146863 h 170138"/>
                <a:gd name="connsiteX11" fmla="*/ 17275 w 246498"/>
                <a:gd name="connsiteY11" fmla="*/ 104091 h 170138"/>
                <a:gd name="connsiteX12" fmla="*/ 2941 w 246498"/>
                <a:gd name="connsiteY12" fmla="*/ 32384 h 170138"/>
                <a:gd name="connsiteX13" fmla="*/ 26917 w 246498"/>
                <a:gd name="connsiteY13" fmla="*/ 8629 h 170138"/>
                <a:gd name="connsiteX14" fmla="*/ 42033 w 246498"/>
                <a:gd name="connsiteY14" fmla="*/ -26 h 170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6498" h="170138">
                  <a:moveTo>
                    <a:pt x="42033" y="-26"/>
                  </a:moveTo>
                  <a:cubicBezTo>
                    <a:pt x="38254" y="3070"/>
                    <a:pt x="14082" y="48621"/>
                    <a:pt x="43792" y="88423"/>
                  </a:cubicBezTo>
                  <a:cubicBezTo>
                    <a:pt x="53086" y="101763"/>
                    <a:pt x="65078" y="113133"/>
                    <a:pt x="79039" y="121845"/>
                  </a:cubicBezTo>
                  <a:cubicBezTo>
                    <a:pt x="88753" y="127447"/>
                    <a:pt x="99302" y="131559"/>
                    <a:pt x="110312" y="134038"/>
                  </a:cubicBezTo>
                  <a:cubicBezTo>
                    <a:pt x="127194" y="137380"/>
                    <a:pt x="144359" y="139199"/>
                    <a:pt x="161587" y="139471"/>
                  </a:cubicBezTo>
                  <a:cubicBezTo>
                    <a:pt x="179764" y="140419"/>
                    <a:pt x="217096" y="140608"/>
                    <a:pt x="223547" y="140608"/>
                  </a:cubicBezTo>
                  <a:lnTo>
                    <a:pt x="230518" y="140608"/>
                  </a:lnTo>
                  <a:lnTo>
                    <a:pt x="246480" y="170113"/>
                  </a:lnTo>
                  <a:cubicBezTo>
                    <a:pt x="246480" y="170113"/>
                    <a:pt x="192273" y="170113"/>
                    <a:pt x="167125" y="169039"/>
                  </a:cubicBezTo>
                  <a:cubicBezTo>
                    <a:pt x="145436" y="168694"/>
                    <a:pt x="123824" y="166431"/>
                    <a:pt x="102559" y="162279"/>
                  </a:cubicBezTo>
                  <a:cubicBezTo>
                    <a:pt x="88806" y="159067"/>
                    <a:pt x="75629" y="153870"/>
                    <a:pt x="63468" y="146863"/>
                  </a:cubicBezTo>
                  <a:cubicBezTo>
                    <a:pt x="45028" y="136055"/>
                    <a:pt x="29259" y="121454"/>
                    <a:pt x="17275" y="104091"/>
                  </a:cubicBezTo>
                  <a:cubicBezTo>
                    <a:pt x="-5919" y="68269"/>
                    <a:pt x="-121" y="44199"/>
                    <a:pt x="2941" y="32384"/>
                  </a:cubicBezTo>
                  <a:cubicBezTo>
                    <a:pt x="9622" y="23314"/>
                    <a:pt x="17709" y="15301"/>
                    <a:pt x="26917" y="8629"/>
                  </a:cubicBezTo>
                  <a:cubicBezTo>
                    <a:pt x="31664" y="5290"/>
                    <a:pt x="36725" y="2392"/>
                    <a:pt x="42033" y="-26"/>
                  </a:cubicBezTo>
                  <a:close/>
                </a:path>
              </a:pathLst>
            </a:custGeom>
            <a:solidFill>
              <a:schemeClr val="bg1"/>
            </a:solidFill>
            <a:ln w="64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30" name="Freihandform 29">
              <a:extLst>
                <a:ext uri="{FF2B5EF4-FFF2-40B4-BE49-F238E27FC236}">
                  <a16:creationId xmlns:a16="http://schemas.microsoft.com/office/drawing/2014/main" id="{C88F3247-D4FD-2C49-812E-84926A323DE1}"/>
                </a:ext>
              </a:extLst>
            </p:cNvPr>
            <p:cNvSpPr/>
            <p:nvPr userDrawn="1"/>
          </p:nvSpPr>
          <p:spPr>
            <a:xfrm>
              <a:off x="540596" y="407395"/>
              <a:ext cx="191593" cy="201238"/>
            </a:xfrm>
            <a:custGeom>
              <a:avLst/>
              <a:gdLst>
                <a:gd name="connsiteX0" fmla="*/ 124729 w 191593"/>
                <a:gd name="connsiteY0" fmla="*/ 199254 h 201238"/>
                <a:gd name="connsiteX1" fmla="*/ 104662 w 191593"/>
                <a:gd name="connsiteY1" fmla="*/ 201213 h 201238"/>
                <a:gd name="connsiteX2" fmla="*/ 42377 w 191593"/>
                <a:gd name="connsiteY2" fmla="*/ 177458 h 201238"/>
                <a:gd name="connsiteX3" fmla="*/ 1396 w 191593"/>
                <a:gd name="connsiteY3" fmla="*/ 115164 h 201238"/>
                <a:gd name="connsiteX4" fmla="*/ 419 w 191593"/>
                <a:gd name="connsiteY4" fmla="*/ 105372 h 201238"/>
                <a:gd name="connsiteX5" fmla="*/ 13449 w 191593"/>
                <a:gd name="connsiteY5" fmla="*/ 48132 h 201238"/>
                <a:gd name="connsiteX6" fmla="*/ 64593 w 191593"/>
                <a:gd name="connsiteY6" fmla="*/ 5739 h 201238"/>
                <a:gd name="connsiteX7" fmla="*/ 124208 w 191593"/>
                <a:gd name="connsiteY7" fmla="*/ 3402 h 201238"/>
                <a:gd name="connsiteX8" fmla="*/ 191575 w 191593"/>
                <a:gd name="connsiteY8" fmla="*/ 49585 h 201238"/>
                <a:gd name="connsiteX9" fmla="*/ 126814 w 191593"/>
                <a:gd name="connsiteY9" fmla="*/ 16038 h 201238"/>
                <a:gd name="connsiteX10" fmla="*/ 121276 w 191593"/>
                <a:gd name="connsiteY10" fmla="*/ 16038 h 201238"/>
                <a:gd name="connsiteX11" fmla="*/ 65571 w 191593"/>
                <a:gd name="connsiteY11" fmla="*/ 33096 h 201238"/>
                <a:gd name="connsiteX12" fmla="*/ 39510 w 191593"/>
                <a:gd name="connsiteY12" fmla="*/ 59315 h 201238"/>
                <a:gd name="connsiteX13" fmla="*/ 36252 w 191593"/>
                <a:gd name="connsiteY13" fmla="*/ 64495 h 201238"/>
                <a:gd name="connsiteX14" fmla="*/ 35731 w 191593"/>
                <a:gd name="connsiteY14" fmla="*/ 65317 h 201238"/>
                <a:gd name="connsiteX15" fmla="*/ 34689 w 191593"/>
                <a:gd name="connsiteY15" fmla="*/ 67275 h 201238"/>
                <a:gd name="connsiteX16" fmla="*/ 22505 w 191593"/>
                <a:gd name="connsiteY16" fmla="*/ 113774 h 201238"/>
                <a:gd name="connsiteX17" fmla="*/ 39184 w 191593"/>
                <a:gd name="connsiteY17" fmla="*/ 166402 h 201238"/>
                <a:gd name="connsiteX18" fmla="*/ 68307 w 191593"/>
                <a:gd name="connsiteY18" fmla="*/ 177331 h 201238"/>
                <a:gd name="connsiteX19" fmla="*/ 87853 w 191593"/>
                <a:gd name="connsiteY19" fmla="*/ 178721 h 201238"/>
                <a:gd name="connsiteX20" fmla="*/ 102642 w 191593"/>
                <a:gd name="connsiteY20" fmla="*/ 188577 h 201238"/>
                <a:gd name="connsiteX21" fmla="*/ 124729 w 191593"/>
                <a:gd name="connsiteY21" fmla="*/ 199254 h 201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1593" h="201238">
                  <a:moveTo>
                    <a:pt x="124729" y="199254"/>
                  </a:moveTo>
                  <a:cubicBezTo>
                    <a:pt x="118118" y="200515"/>
                    <a:pt x="111399" y="201170"/>
                    <a:pt x="104662" y="201213"/>
                  </a:cubicBezTo>
                  <a:cubicBezTo>
                    <a:pt x="81782" y="200102"/>
                    <a:pt x="59906" y="191759"/>
                    <a:pt x="42377" y="177458"/>
                  </a:cubicBezTo>
                  <a:cubicBezTo>
                    <a:pt x="21099" y="162452"/>
                    <a:pt x="6460" y="140200"/>
                    <a:pt x="1396" y="115164"/>
                  </a:cubicBezTo>
                  <a:cubicBezTo>
                    <a:pt x="889" y="111919"/>
                    <a:pt x="563" y="108650"/>
                    <a:pt x="419" y="105372"/>
                  </a:cubicBezTo>
                  <a:cubicBezTo>
                    <a:pt x="-1522" y="85439"/>
                    <a:pt x="3035" y="65420"/>
                    <a:pt x="13449" y="48132"/>
                  </a:cubicBezTo>
                  <a:cubicBezTo>
                    <a:pt x="25027" y="28770"/>
                    <a:pt x="43068" y="13817"/>
                    <a:pt x="64593" y="5739"/>
                  </a:cubicBezTo>
                  <a:cubicBezTo>
                    <a:pt x="83728" y="-1046"/>
                    <a:pt x="104571" y="-1864"/>
                    <a:pt x="124208" y="3402"/>
                  </a:cubicBezTo>
                  <a:cubicBezTo>
                    <a:pt x="151529" y="10711"/>
                    <a:pt x="175357" y="27047"/>
                    <a:pt x="191575" y="49585"/>
                  </a:cubicBezTo>
                  <a:cubicBezTo>
                    <a:pt x="175227" y="30759"/>
                    <a:pt x="152040" y="18748"/>
                    <a:pt x="126814" y="16038"/>
                  </a:cubicBezTo>
                  <a:cubicBezTo>
                    <a:pt x="124989" y="16038"/>
                    <a:pt x="123100" y="16038"/>
                    <a:pt x="121276" y="16038"/>
                  </a:cubicBezTo>
                  <a:cubicBezTo>
                    <a:pt x="101288" y="15694"/>
                    <a:pt x="81730" y="21684"/>
                    <a:pt x="65571" y="33096"/>
                  </a:cubicBezTo>
                  <a:cubicBezTo>
                    <a:pt x="55298" y="40211"/>
                    <a:pt x="46464" y="49099"/>
                    <a:pt x="39510" y="59315"/>
                  </a:cubicBezTo>
                  <a:cubicBezTo>
                    <a:pt x="39119" y="59883"/>
                    <a:pt x="37881" y="61652"/>
                    <a:pt x="36252" y="64495"/>
                  </a:cubicBezTo>
                  <a:lnTo>
                    <a:pt x="35731" y="65317"/>
                  </a:lnTo>
                  <a:lnTo>
                    <a:pt x="34689" y="67275"/>
                  </a:lnTo>
                  <a:cubicBezTo>
                    <a:pt x="26977" y="81654"/>
                    <a:pt x="22807" y="97570"/>
                    <a:pt x="22505" y="113774"/>
                  </a:cubicBezTo>
                  <a:cubicBezTo>
                    <a:pt x="22415" y="132553"/>
                    <a:pt x="28233" y="150913"/>
                    <a:pt x="39184" y="166402"/>
                  </a:cubicBezTo>
                  <a:cubicBezTo>
                    <a:pt x="48073" y="171832"/>
                    <a:pt x="57964" y="175544"/>
                    <a:pt x="68307" y="177331"/>
                  </a:cubicBezTo>
                  <a:cubicBezTo>
                    <a:pt x="74752" y="178474"/>
                    <a:pt x="81305" y="178940"/>
                    <a:pt x="87853" y="178721"/>
                  </a:cubicBezTo>
                  <a:cubicBezTo>
                    <a:pt x="92541" y="182335"/>
                    <a:pt x="97483" y="185628"/>
                    <a:pt x="102642" y="188577"/>
                  </a:cubicBezTo>
                  <a:cubicBezTo>
                    <a:pt x="109729" y="192648"/>
                    <a:pt x="117111" y="196217"/>
                    <a:pt x="124729" y="199254"/>
                  </a:cubicBezTo>
                  <a:close/>
                </a:path>
              </a:pathLst>
            </a:custGeom>
            <a:solidFill>
              <a:schemeClr val="bg1"/>
            </a:solidFill>
            <a:ln w="64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31" name="Freihandform 30">
              <a:extLst>
                <a:ext uri="{FF2B5EF4-FFF2-40B4-BE49-F238E27FC236}">
                  <a16:creationId xmlns:a16="http://schemas.microsoft.com/office/drawing/2014/main" id="{36196DD1-E58F-0441-BB04-3D8D740DB0E1}"/>
                </a:ext>
              </a:extLst>
            </p:cNvPr>
            <p:cNvSpPr/>
            <p:nvPr userDrawn="1"/>
          </p:nvSpPr>
          <p:spPr>
            <a:xfrm>
              <a:off x="690818" y="449678"/>
              <a:ext cx="56959" cy="118585"/>
            </a:xfrm>
            <a:custGeom>
              <a:avLst/>
              <a:gdLst>
                <a:gd name="connsiteX0" fmla="*/ 19071 w 56959"/>
                <a:gd name="connsiteY0" fmla="*/ -26 h 118585"/>
                <a:gd name="connsiteX1" fmla="*/ 56794 w 56959"/>
                <a:gd name="connsiteY1" fmla="*/ 60625 h 118585"/>
                <a:gd name="connsiteX2" fmla="*/ 38030 w 56959"/>
                <a:gd name="connsiteY2" fmla="*/ 118559 h 118585"/>
                <a:gd name="connsiteX3" fmla="*/ 7865 w 56959"/>
                <a:gd name="connsiteY3" fmla="*/ 114705 h 118585"/>
                <a:gd name="connsiteX4" fmla="*/ -18 w 56959"/>
                <a:gd name="connsiteY4" fmla="*/ 112621 h 118585"/>
                <a:gd name="connsiteX5" fmla="*/ 28062 w 56959"/>
                <a:gd name="connsiteY5" fmla="*/ 67954 h 118585"/>
                <a:gd name="connsiteX6" fmla="*/ 19071 w 56959"/>
                <a:gd name="connsiteY6" fmla="*/ -26 h 118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959" h="118585">
                  <a:moveTo>
                    <a:pt x="19071" y="-26"/>
                  </a:moveTo>
                  <a:cubicBezTo>
                    <a:pt x="34121" y="8629"/>
                    <a:pt x="55817" y="35859"/>
                    <a:pt x="56794" y="60625"/>
                  </a:cubicBezTo>
                  <a:cubicBezTo>
                    <a:pt x="58423" y="84190"/>
                    <a:pt x="46174" y="107314"/>
                    <a:pt x="38030" y="118559"/>
                  </a:cubicBezTo>
                  <a:cubicBezTo>
                    <a:pt x="27878" y="118134"/>
                    <a:pt x="17784" y="116845"/>
                    <a:pt x="7865" y="114705"/>
                  </a:cubicBezTo>
                  <a:cubicBezTo>
                    <a:pt x="5650" y="114137"/>
                    <a:pt x="3109" y="113568"/>
                    <a:pt x="-18" y="112621"/>
                  </a:cubicBezTo>
                  <a:cubicBezTo>
                    <a:pt x="13416" y="100532"/>
                    <a:pt x="23135" y="85072"/>
                    <a:pt x="28062" y="67954"/>
                  </a:cubicBezTo>
                  <a:cubicBezTo>
                    <a:pt x="35371" y="45101"/>
                    <a:pt x="32091" y="20298"/>
                    <a:pt x="19071" y="-26"/>
                  </a:cubicBezTo>
                  <a:close/>
                </a:path>
              </a:pathLst>
            </a:custGeom>
            <a:solidFill>
              <a:schemeClr val="bg1"/>
            </a:solidFill>
            <a:ln w="64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32" name="Freihandform 31">
              <a:extLst>
                <a:ext uri="{FF2B5EF4-FFF2-40B4-BE49-F238E27FC236}">
                  <a16:creationId xmlns:a16="http://schemas.microsoft.com/office/drawing/2014/main" id="{DA099DFB-BC3B-384A-AB6C-B23E97B5855F}"/>
                </a:ext>
              </a:extLst>
            </p:cNvPr>
            <p:cNvSpPr/>
            <p:nvPr userDrawn="1"/>
          </p:nvSpPr>
          <p:spPr>
            <a:xfrm>
              <a:off x="901911" y="445318"/>
              <a:ext cx="151022" cy="169633"/>
            </a:xfrm>
            <a:custGeom>
              <a:avLst/>
              <a:gdLst>
                <a:gd name="connsiteX0" fmla="*/ -18 w 151022"/>
                <a:gd name="connsiteY0" fmla="*/ -26 h 169633"/>
                <a:gd name="connsiteX1" fmla="*/ 32167 w 151022"/>
                <a:gd name="connsiteY1" fmla="*/ -26 h 169633"/>
                <a:gd name="connsiteX2" fmla="*/ 32167 w 151022"/>
                <a:gd name="connsiteY2" fmla="*/ 91961 h 169633"/>
                <a:gd name="connsiteX3" fmla="*/ 75493 w 151022"/>
                <a:gd name="connsiteY3" fmla="*/ 140545 h 169633"/>
                <a:gd name="connsiteX4" fmla="*/ 118819 w 151022"/>
                <a:gd name="connsiteY4" fmla="*/ 91961 h 169633"/>
                <a:gd name="connsiteX5" fmla="*/ 118819 w 151022"/>
                <a:gd name="connsiteY5" fmla="*/ -26 h 169633"/>
                <a:gd name="connsiteX6" fmla="*/ 151004 w 151022"/>
                <a:gd name="connsiteY6" fmla="*/ -26 h 169633"/>
                <a:gd name="connsiteX7" fmla="*/ 151004 w 151022"/>
                <a:gd name="connsiteY7" fmla="*/ 98595 h 169633"/>
                <a:gd name="connsiteX8" fmla="*/ 75623 w 151022"/>
                <a:gd name="connsiteY8" fmla="*/ 169607 h 169633"/>
                <a:gd name="connsiteX9" fmla="*/ -18 w 151022"/>
                <a:gd name="connsiteY9" fmla="*/ 98595 h 169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1022" h="169633">
                  <a:moveTo>
                    <a:pt x="-18" y="-26"/>
                  </a:moveTo>
                  <a:lnTo>
                    <a:pt x="32167" y="-26"/>
                  </a:lnTo>
                  <a:lnTo>
                    <a:pt x="32167" y="91961"/>
                  </a:lnTo>
                  <a:cubicBezTo>
                    <a:pt x="32167" y="122350"/>
                    <a:pt x="50931" y="140545"/>
                    <a:pt x="75493" y="140545"/>
                  </a:cubicBezTo>
                  <a:cubicBezTo>
                    <a:pt x="100055" y="140545"/>
                    <a:pt x="118819" y="122350"/>
                    <a:pt x="118819" y="91961"/>
                  </a:cubicBezTo>
                  <a:lnTo>
                    <a:pt x="118819" y="-26"/>
                  </a:lnTo>
                  <a:lnTo>
                    <a:pt x="151004" y="-26"/>
                  </a:lnTo>
                  <a:lnTo>
                    <a:pt x="151004" y="98595"/>
                  </a:lnTo>
                  <a:cubicBezTo>
                    <a:pt x="151004" y="136881"/>
                    <a:pt x="121230" y="169607"/>
                    <a:pt x="75623" y="169607"/>
                  </a:cubicBezTo>
                  <a:cubicBezTo>
                    <a:pt x="30017" y="169607"/>
                    <a:pt x="-18" y="136881"/>
                    <a:pt x="-18" y="98595"/>
                  </a:cubicBezTo>
                  <a:close/>
                </a:path>
              </a:pathLst>
            </a:custGeom>
            <a:solidFill>
              <a:schemeClr val="bg1"/>
            </a:solidFill>
            <a:ln w="64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33" name="Freihandform 32">
              <a:extLst>
                <a:ext uri="{FF2B5EF4-FFF2-40B4-BE49-F238E27FC236}">
                  <a16:creationId xmlns:a16="http://schemas.microsoft.com/office/drawing/2014/main" id="{BD7224F2-2665-4347-AC03-04AC4EF7BA0B}"/>
                </a:ext>
              </a:extLst>
            </p:cNvPr>
            <p:cNvSpPr/>
            <p:nvPr userDrawn="1"/>
          </p:nvSpPr>
          <p:spPr>
            <a:xfrm>
              <a:off x="1088898" y="445318"/>
              <a:ext cx="142683" cy="166032"/>
            </a:xfrm>
            <a:custGeom>
              <a:avLst/>
              <a:gdLst>
                <a:gd name="connsiteX0" fmla="*/ 142683 w 142683"/>
                <a:gd name="connsiteY0" fmla="*/ 166032 h 166032"/>
                <a:gd name="connsiteX1" fmla="*/ 142683 w 142683"/>
                <a:gd name="connsiteY1" fmla="*/ 0 h 166032"/>
                <a:gd name="connsiteX2" fmla="*/ 110824 w 142683"/>
                <a:gd name="connsiteY2" fmla="*/ 0 h 166032"/>
                <a:gd name="connsiteX3" fmla="*/ 110824 w 142683"/>
                <a:gd name="connsiteY3" fmla="*/ 103612 h 166032"/>
                <a:gd name="connsiteX4" fmla="*/ 17396 w 142683"/>
                <a:gd name="connsiteY4" fmla="*/ 0 h 166032"/>
                <a:gd name="connsiteX5" fmla="*/ 0 w 142683"/>
                <a:gd name="connsiteY5" fmla="*/ 0 h 166032"/>
                <a:gd name="connsiteX6" fmla="*/ 0 w 142683"/>
                <a:gd name="connsiteY6" fmla="*/ 165716 h 166032"/>
                <a:gd name="connsiteX7" fmla="*/ 31859 w 142683"/>
                <a:gd name="connsiteY7" fmla="*/ 165716 h 166032"/>
                <a:gd name="connsiteX8" fmla="*/ 31859 w 142683"/>
                <a:gd name="connsiteY8" fmla="*/ 62610 h 166032"/>
                <a:gd name="connsiteX9" fmla="*/ 125092 w 142683"/>
                <a:gd name="connsiteY9" fmla="*/ 166032 h 166032"/>
                <a:gd name="connsiteX10" fmla="*/ 142683 w 142683"/>
                <a:gd name="connsiteY10" fmla="*/ 166032 h 166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2683" h="166032">
                  <a:moveTo>
                    <a:pt x="142683" y="166032"/>
                  </a:moveTo>
                  <a:lnTo>
                    <a:pt x="142683" y="0"/>
                  </a:lnTo>
                  <a:lnTo>
                    <a:pt x="110824" y="0"/>
                  </a:lnTo>
                  <a:lnTo>
                    <a:pt x="110824" y="103612"/>
                  </a:lnTo>
                  <a:lnTo>
                    <a:pt x="17396" y="0"/>
                  </a:lnTo>
                  <a:lnTo>
                    <a:pt x="0" y="0"/>
                  </a:lnTo>
                  <a:lnTo>
                    <a:pt x="0" y="165716"/>
                  </a:lnTo>
                  <a:lnTo>
                    <a:pt x="31859" y="165716"/>
                  </a:lnTo>
                  <a:lnTo>
                    <a:pt x="31859" y="62610"/>
                  </a:lnTo>
                  <a:lnTo>
                    <a:pt x="125092" y="166032"/>
                  </a:lnTo>
                  <a:lnTo>
                    <a:pt x="142683" y="166032"/>
                  </a:lnTo>
                  <a:close/>
                </a:path>
              </a:pathLst>
            </a:custGeom>
            <a:solidFill>
              <a:schemeClr val="bg1"/>
            </a:solidFill>
            <a:ln w="64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34" name="Freihandform 33">
              <a:extLst>
                <a:ext uri="{FF2B5EF4-FFF2-40B4-BE49-F238E27FC236}">
                  <a16:creationId xmlns:a16="http://schemas.microsoft.com/office/drawing/2014/main" id="{B0666D4A-B6A7-E741-8A72-1E3599835884}"/>
                </a:ext>
              </a:extLst>
            </p:cNvPr>
            <p:cNvSpPr/>
            <p:nvPr userDrawn="1"/>
          </p:nvSpPr>
          <p:spPr>
            <a:xfrm>
              <a:off x="1269695" y="445318"/>
              <a:ext cx="33032" cy="165779"/>
            </a:xfrm>
            <a:custGeom>
              <a:avLst/>
              <a:gdLst>
                <a:gd name="connsiteX0" fmla="*/ 0 w 33032"/>
                <a:gd name="connsiteY0" fmla="*/ 0 h 165779"/>
                <a:gd name="connsiteX1" fmla="*/ 33032 w 33032"/>
                <a:gd name="connsiteY1" fmla="*/ 0 h 165779"/>
                <a:gd name="connsiteX2" fmla="*/ 33032 w 33032"/>
                <a:gd name="connsiteY2" fmla="*/ 165780 h 165779"/>
                <a:gd name="connsiteX3" fmla="*/ 0 w 33032"/>
                <a:gd name="connsiteY3" fmla="*/ 165780 h 165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032" h="165779">
                  <a:moveTo>
                    <a:pt x="0" y="0"/>
                  </a:moveTo>
                  <a:lnTo>
                    <a:pt x="33032" y="0"/>
                  </a:lnTo>
                  <a:lnTo>
                    <a:pt x="33032" y="165780"/>
                  </a:lnTo>
                  <a:lnTo>
                    <a:pt x="0" y="165780"/>
                  </a:lnTo>
                  <a:close/>
                </a:path>
              </a:pathLst>
            </a:custGeom>
            <a:solidFill>
              <a:schemeClr val="bg1"/>
            </a:solidFill>
            <a:ln w="64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35" name="Freihandform 34">
              <a:extLst>
                <a:ext uri="{FF2B5EF4-FFF2-40B4-BE49-F238E27FC236}">
                  <a16:creationId xmlns:a16="http://schemas.microsoft.com/office/drawing/2014/main" id="{6304FDE3-8FE8-CA45-9E07-83E79AB2D5F0}"/>
                </a:ext>
              </a:extLst>
            </p:cNvPr>
            <p:cNvSpPr/>
            <p:nvPr userDrawn="1"/>
          </p:nvSpPr>
          <p:spPr>
            <a:xfrm>
              <a:off x="1331007" y="438495"/>
              <a:ext cx="183727" cy="178162"/>
            </a:xfrm>
            <a:custGeom>
              <a:avLst/>
              <a:gdLst>
                <a:gd name="connsiteX0" fmla="*/ 183707 w 183727"/>
                <a:gd name="connsiteY0" fmla="*/ 89687 h 178162"/>
                <a:gd name="connsiteX1" fmla="*/ 92494 w 183727"/>
                <a:gd name="connsiteY1" fmla="*/ -24 h 178162"/>
                <a:gd name="connsiteX2" fmla="*/ -16 w 183727"/>
                <a:gd name="connsiteY2" fmla="*/ 88423 h 178162"/>
                <a:gd name="connsiteX3" fmla="*/ 91191 w 183727"/>
                <a:gd name="connsiteY3" fmla="*/ 178134 h 178162"/>
                <a:gd name="connsiteX4" fmla="*/ 91842 w 183727"/>
                <a:gd name="connsiteY4" fmla="*/ 178136 h 178162"/>
                <a:gd name="connsiteX5" fmla="*/ 143964 w 183727"/>
                <a:gd name="connsiteY5" fmla="*/ 162657 h 178162"/>
                <a:gd name="connsiteX6" fmla="*/ 158949 w 183727"/>
                <a:gd name="connsiteY6" fmla="*/ 177188 h 178162"/>
                <a:gd name="connsiteX7" fmla="*/ 179928 w 183727"/>
                <a:gd name="connsiteY7" fmla="*/ 156845 h 178162"/>
                <a:gd name="connsiteX8" fmla="*/ 165464 w 183727"/>
                <a:gd name="connsiteY8" fmla="*/ 142883 h 178162"/>
                <a:gd name="connsiteX9" fmla="*/ 183707 w 183727"/>
                <a:gd name="connsiteY9" fmla="*/ 89687 h 178162"/>
                <a:gd name="connsiteX10" fmla="*/ 91842 w 183727"/>
                <a:gd name="connsiteY10" fmla="*/ 150211 h 178162"/>
                <a:gd name="connsiteX11" fmla="*/ 26625 w 183727"/>
                <a:gd name="connsiteY11" fmla="*/ 92401 h 178162"/>
                <a:gd name="connsiteX12" fmla="*/ 86239 w 183727"/>
                <a:gd name="connsiteY12" fmla="*/ 29158 h 178162"/>
                <a:gd name="connsiteX13" fmla="*/ 151456 w 183727"/>
                <a:gd name="connsiteY13" fmla="*/ 86967 h 178162"/>
                <a:gd name="connsiteX14" fmla="*/ 151521 w 183727"/>
                <a:gd name="connsiteY14" fmla="*/ 89687 h 178162"/>
                <a:gd name="connsiteX15" fmla="*/ 142986 w 183727"/>
                <a:gd name="connsiteY15" fmla="*/ 120897 h 178162"/>
                <a:gd name="connsiteX16" fmla="*/ 123441 w 183727"/>
                <a:gd name="connsiteY16" fmla="*/ 101943 h 178162"/>
                <a:gd name="connsiteX17" fmla="*/ 102592 w 183727"/>
                <a:gd name="connsiteY17" fmla="*/ 122034 h 178162"/>
                <a:gd name="connsiteX18" fmla="*/ 122724 w 183727"/>
                <a:gd name="connsiteY18" fmla="*/ 141619 h 178162"/>
                <a:gd name="connsiteX19" fmla="*/ 91842 w 183727"/>
                <a:gd name="connsiteY19" fmla="*/ 150211 h 17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3727" h="178162">
                  <a:moveTo>
                    <a:pt x="183707" y="89687"/>
                  </a:moveTo>
                  <a:cubicBezTo>
                    <a:pt x="184065" y="40490"/>
                    <a:pt x="143228" y="325"/>
                    <a:pt x="92494" y="-24"/>
                  </a:cubicBezTo>
                  <a:cubicBezTo>
                    <a:pt x="41760" y="-373"/>
                    <a:pt x="342" y="39226"/>
                    <a:pt x="-16" y="88423"/>
                  </a:cubicBezTo>
                  <a:cubicBezTo>
                    <a:pt x="-381" y="137620"/>
                    <a:pt x="40456" y="177785"/>
                    <a:pt x="91191" y="178134"/>
                  </a:cubicBezTo>
                  <a:cubicBezTo>
                    <a:pt x="91412" y="178135"/>
                    <a:pt x="91627" y="178136"/>
                    <a:pt x="91842" y="178136"/>
                  </a:cubicBezTo>
                  <a:cubicBezTo>
                    <a:pt x="110423" y="178177"/>
                    <a:pt x="128588" y="172783"/>
                    <a:pt x="143964" y="162657"/>
                  </a:cubicBezTo>
                  <a:lnTo>
                    <a:pt x="158949" y="177188"/>
                  </a:lnTo>
                  <a:lnTo>
                    <a:pt x="179928" y="156845"/>
                  </a:lnTo>
                  <a:lnTo>
                    <a:pt x="165464" y="142883"/>
                  </a:lnTo>
                  <a:cubicBezTo>
                    <a:pt x="177400" y="127573"/>
                    <a:pt x="183811" y="108880"/>
                    <a:pt x="183707" y="89687"/>
                  </a:cubicBezTo>
                  <a:close/>
                  <a:moveTo>
                    <a:pt x="91842" y="150211"/>
                  </a:moveTo>
                  <a:cubicBezTo>
                    <a:pt x="57370" y="151712"/>
                    <a:pt x="28169" y="125829"/>
                    <a:pt x="26625" y="92401"/>
                  </a:cubicBezTo>
                  <a:cubicBezTo>
                    <a:pt x="25074" y="58973"/>
                    <a:pt x="51767" y="30658"/>
                    <a:pt x="86239" y="29158"/>
                  </a:cubicBezTo>
                  <a:cubicBezTo>
                    <a:pt x="120711" y="27657"/>
                    <a:pt x="149912" y="53540"/>
                    <a:pt x="151456" y="86967"/>
                  </a:cubicBezTo>
                  <a:cubicBezTo>
                    <a:pt x="151502" y="87873"/>
                    <a:pt x="151521" y="88780"/>
                    <a:pt x="151521" y="89687"/>
                  </a:cubicBezTo>
                  <a:cubicBezTo>
                    <a:pt x="151554" y="100636"/>
                    <a:pt x="148609" y="111400"/>
                    <a:pt x="142986" y="120897"/>
                  </a:cubicBezTo>
                  <a:lnTo>
                    <a:pt x="123441" y="101943"/>
                  </a:lnTo>
                  <a:lnTo>
                    <a:pt x="102592" y="122034"/>
                  </a:lnTo>
                  <a:lnTo>
                    <a:pt x="122724" y="141619"/>
                  </a:lnTo>
                  <a:cubicBezTo>
                    <a:pt x="113486" y="147285"/>
                    <a:pt x="102768" y="150267"/>
                    <a:pt x="91842" y="150211"/>
                  </a:cubicBezTo>
                  <a:close/>
                </a:path>
              </a:pathLst>
            </a:custGeom>
            <a:solidFill>
              <a:schemeClr val="bg1"/>
            </a:solidFill>
            <a:ln w="64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36" name="Freihandform 35">
              <a:extLst>
                <a:ext uri="{FF2B5EF4-FFF2-40B4-BE49-F238E27FC236}">
                  <a16:creationId xmlns:a16="http://schemas.microsoft.com/office/drawing/2014/main" id="{CA9E5DEA-401C-6B49-A8D4-F749057E0CFD}"/>
                </a:ext>
              </a:extLst>
            </p:cNvPr>
            <p:cNvSpPr/>
            <p:nvPr userDrawn="1"/>
          </p:nvSpPr>
          <p:spPr>
            <a:xfrm>
              <a:off x="1515840" y="445318"/>
              <a:ext cx="169721" cy="165779"/>
            </a:xfrm>
            <a:custGeom>
              <a:avLst/>
              <a:gdLst>
                <a:gd name="connsiteX0" fmla="*/ 134391 w 169721"/>
                <a:gd name="connsiteY0" fmla="*/ 165753 h 165779"/>
                <a:gd name="connsiteX1" fmla="*/ 169703 w 169721"/>
                <a:gd name="connsiteY1" fmla="*/ 165753 h 165779"/>
                <a:gd name="connsiteX2" fmla="*/ 96863 w 169721"/>
                <a:gd name="connsiteY2" fmla="*/ -26 h 165779"/>
                <a:gd name="connsiteX3" fmla="*/ 74711 w 169721"/>
                <a:gd name="connsiteY3" fmla="*/ -26 h 165779"/>
                <a:gd name="connsiteX4" fmla="*/ -18 w 169721"/>
                <a:gd name="connsiteY4" fmla="*/ 165753 h 165779"/>
                <a:gd name="connsiteX5" fmla="*/ 34252 w 169721"/>
                <a:gd name="connsiteY5" fmla="*/ 165753 h 165779"/>
                <a:gd name="connsiteX6" fmla="*/ 47673 w 169721"/>
                <a:gd name="connsiteY6" fmla="*/ 134543 h 165779"/>
                <a:gd name="connsiteX7" fmla="*/ 121360 w 169721"/>
                <a:gd name="connsiteY7" fmla="*/ 134543 h 165779"/>
                <a:gd name="connsiteX8" fmla="*/ 59466 w 169721"/>
                <a:gd name="connsiteY8" fmla="*/ 107250 h 165779"/>
                <a:gd name="connsiteX9" fmla="*/ 85136 w 169721"/>
                <a:gd name="connsiteY9" fmla="*/ 47610 h 165779"/>
                <a:gd name="connsiteX10" fmla="*/ 110024 w 169721"/>
                <a:gd name="connsiteY10" fmla="*/ 107250 h 165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9721" h="165779">
                  <a:moveTo>
                    <a:pt x="134391" y="165753"/>
                  </a:moveTo>
                  <a:lnTo>
                    <a:pt x="169703" y="165753"/>
                  </a:lnTo>
                  <a:lnTo>
                    <a:pt x="96863" y="-26"/>
                  </a:lnTo>
                  <a:lnTo>
                    <a:pt x="74711" y="-26"/>
                  </a:lnTo>
                  <a:lnTo>
                    <a:pt x="-18" y="165753"/>
                  </a:lnTo>
                  <a:lnTo>
                    <a:pt x="34252" y="165753"/>
                  </a:lnTo>
                  <a:lnTo>
                    <a:pt x="47673" y="134543"/>
                  </a:lnTo>
                  <a:lnTo>
                    <a:pt x="121360" y="134543"/>
                  </a:lnTo>
                  <a:close/>
                  <a:moveTo>
                    <a:pt x="59466" y="107250"/>
                  </a:moveTo>
                  <a:lnTo>
                    <a:pt x="85136" y="47610"/>
                  </a:lnTo>
                  <a:lnTo>
                    <a:pt x="110024" y="107250"/>
                  </a:lnTo>
                  <a:close/>
                </a:path>
              </a:pathLst>
            </a:custGeom>
            <a:solidFill>
              <a:schemeClr val="bg1"/>
            </a:solidFill>
            <a:ln w="64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</p:grpSp>
    </p:spTree>
    <p:extLst>
      <p:ext uri="{BB962C8B-B14F-4D97-AF65-F5344CB8AC3E}">
        <p14:creationId xmlns:p14="http://schemas.microsoft.com/office/powerpoint/2010/main" val="37812875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0.1_Makieta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4A457A4A-F493-C040-9B1A-7F861B8FCCCA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400237" y="1700213"/>
            <a:ext cx="4781363" cy="455453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182563" indent="-182563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76ED613C-8AB0-BA8D-9350-5D37ACD2A3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9B0ADA60-D1B5-2A9E-4049-08CDA6341FC4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A0638147-22F8-BAF7-7CD2-5348F697579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FFD8A926-D946-93E5-7435-6485B53184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04545F25-13E6-A142-8617-DCF97AB783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88797539-7C3B-4D05-8157-0A4829269DC3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29798F63-DA62-8749-A404-1DDD2B4D0A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F6EF1FC2-E108-214E-ABB5-DEDCE60938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842783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7">
            <a:extLst>
              <a:ext uri="{FF2B5EF4-FFF2-40B4-BE49-F238E27FC236}">
                <a16:creationId xmlns:a16="http://schemas.microsoft.com/office/drawing/2014/main" id="{07FF4A2D-E677-9F40-8886-0D015C4F6EF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alphaModFix amt="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642" t="6837" r="23251" b="12981"/>
          <a:stretch>
            <a:fillRect/>
          </a:stretch>
        </p:blipFill>
        <p:spPr bwMode="auto">
          <a:xfrm>
            <a:off x="722313" y="0"/>
            <a:ext cx="95043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7">
            <a:extLst>
              <a:ext uri="{FF2B5EF4-FFF2-40B4-BE49-F238E27FC236}">
                <a16:creationId xmlns:a16="http://schemas.microsoft.com/office/drawing/2014/main" id="{A537ACE8-59B5-3A4B-A0F3-73353E1B3A0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2001" y="432001"/>
            <a:ext cx="1798639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97620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_Separator niebiesk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54E72142-9EC3-2942-871D-778C30998BEC}"/>
              </a:ext>
            </a:extLst>
          </p:cNvPr>
          <p:cNvSpPr/>
          <p:nvPr userDrawn="1"/>
        </p:nvSpPr>
        <p:spPr>
          <a:xfrm>
            <a:off x="396875" y="1282182"/>
            <a:ext cx="11395075" cy="4972568"/>
          </a:xfrm>
          <a:prstGeom prst="roundRect">
            <a:avLst>
              <a:gd name="adj" fmla="val 1956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7992096-63D7-8950-B594-87644126B7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F38DE9B2-2CE0-07FD-1FF9-46AD66E5034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84653" y="3820536"/>
            <a:ext cx="10496109" cy="184390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Tytuł</a:t>
            </a:r>
            <a:endParaRPr lang="de-AT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8CF0B5A0-0956-7886-6ACE-D319F5C58B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4654" y="1736267"/>
            <a:ext cx="4633992" cy="1823220"/>
          </a:xfrm>
        </p:spPr>
        <p:txBody>
          <a:bodyPr lIns="0" tIns="0" rIns="0" bIns="0" anchor="t" anchorCtr="0">
            <a:noAutofit/>
          </a:bodyPr>
          <a:lstStyle>
            <a:lvl1pPr>
              <a:defRPr sz="15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AT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2684862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_Pusty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08134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_Tylko nagłów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>
            <a:extLst>
              <a:ext uri="{FF2B5EF4-FFF2-40B4-BE49-F238E27FC236}">
                <a16:creationId xmlns:a16="http://schemas.microsoft.com/office/drawing/2014/main" id="{77619488-6B8F-BF1B-AC7F-0F453D17B9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1A9573BE-5D9D-0B8E-C9E2-5DFB152BD37F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9E1C7C8C-7085-4E38-2A09-9A5078A9D0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08FA09D6-E070-F392-EF5C-E3E9C90DD0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FEB5BDEE-133A-EA46-A7F8-CF725923AB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744977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2_Nagłówek + tekst wylicze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Inhaltsplatzhalter 2">
            <a:extLst>
              <a:ext uri="{FF2B5EF4-FFF2-40B4-BE49-F238E27FC236}">
                <a16:creationId xmlns:a16="http://schemas.microsoft.com/office/drawing/2014/main" id="{19D50E59-A9FC-B640-A2F7-7F5DD6F7D57C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400237" y="1700214"/>
            <a:ext cx="11391714" cy="45513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84150" indent="-18415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Tekst</a:t>
            </a:r>
            <a:endParaRPr lang="de-AT" dirty="0"/>
          </a:p>
          <a:p>
            <a:pPr lvl="0"/>
            <a:r>
              <a:rPr lang="pl-PL" dirty="0"/>
              <a:t>Tekst</a:t>
            </a:r>
            <a:endParaRPr lang="de-AT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60934BDD-EAD4-A2CA-2AA3-836C7707B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pl-PL" dirty="0"/>
              <a:t>Tytuł</a:t>
            </a:r>
            <a:endParaRPr lang="de-AT" dirty="0"/>
          </a:p>
        </p:txBody>
      </p: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C60C74BB-494B-44AA-AB83-541A8AD077BA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9F0E9364-5F79-5EEF-C2E3-A00F3F153F8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115942A3-BED4-FEF4-B11B-D19123B80A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63275604-D4FB-A549-8F5D-A1902E52F7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980FF0FA-BF65-4256-8C14-A0ADDD21691F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9EC9B81-E84F-084C-A0BF-CAE98BC33C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71B80F30-8D86-BA4E-A9B3-9A9C19F37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2848056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3_Oddzielenie lewej stro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1D7D7FEE-17B3-7547-80D6-B26EC0FE99E9}"/>
              </a:ext>
            </a:extLst>
          </p:cNvPr>
          <p:cNvSpPr/>
          <p:nvPr userDrawn="1"/>
        </p:nvSpPr>
        <p:spPr>
          <a:xfrm>
            <a:off x="0" y="0"/>
            <a:ext cx="3024717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AAF22644-D198-D83A-5497-352EDAD1F1A6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3843653F-53D3-DFB3-944A-66B4153F55E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r" defTabSz="3600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pl-PL" dirty="0"/>
              <a:t>TYTUŁ SEKCJI</a:t>
            </a:r>
            <a:endParaRPr lang="de-AT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6E08C91C-B059-89A1-E159-89B0AAC5EC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363" y="163341"/>
            <a:ext cx="1072211" cy="197055"/>
          </a:xfrm>
          <a:prstGeom prst="rect">
            <a:avLst/>
          </a:prstGeom>
        </p:spPr>
      </p:pic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8F2E55D3-1241-634D-AB72-5A39B77E2D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55E6EA6B-D64C-4B1A-AB13-D0536411CA3A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CF78E4E6-EB5D-FA4E-AC08-EFDF20E779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806CBAC9-0539-1640-91FD-B44FF4E92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306562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A0A803-45ED-4E9E-AC17-D7FBCDBA34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1335208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6" imgW="411" imgH="412" progId="TCLayout.ActiveDocument.1">
                  <p:embed/>
                </p:oleObj>
              </mc:Choice>
              <mc:Fallback>
                <p:oleObj name="think-cell Folie" r:id="rId46" imgW="411" imgH="412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A0A803-45ED-4E9E-AC17-D7FBCDBA3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765A233-BE70-43F9-810C-13139BE5D9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365125"/>
            <a:ext cx="11395074" cy="10396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AT" dirty="0" err="1"/>
              <a:t>Kliknij</a:t>
            </a:r>
            <a:r>
              <a:rPr lang="de-AT" dirty="0"/>
              <a:t>, </a:t>
            </a:r>
            <a:r>
              <a:rPr lang="de-AT" dirty="0" err="1"/>
              <a:t>aby</a:t>
            </a:r>
            <a:r>
              <a:rPr lang="de-AT" dirty="0"/>
              <a:t> </a:t>
            </a:r>
            <a:r>
              <a:rPr lang="de-AT" dirty="0" err="1"/>
              <a:t>edytować</a:t>
            </a:r>
            <a:r>
              <a:rPr lang="de-AT" dirty="0"/>
              <a:t> styl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0788AF5-789D-4C61-9C18-D1B0DF7DD1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6876" y="1700213"/>
            <a:ext cx="11395074" cy="45513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pl-PL" dirty="0"/>
              <a:t>Kliknij, aby edytować styl wzorca tytułu</a:t>
            </a:r>
            <a:endParaRPr lang="de-AT" dirty="0"/>
          </a:p>
          <a:p>
            <a:pPr lvl="1"/>
            <a:r>
              <a:rPr lang="sk-SK" dirty="0"/>
              <a:t>Drugi poziom</a:t>
            </a:r>
            <a:endParaRPr lang="de-AT" dirty="0"/>
          </a:p>
          <a:p>
            <a:pPr lvl="2"/>
            <a:r>
              <a:rPr lang="sk-SK" dirty="0"/>
              <a:t>Trzeci poziom</a:t>
            </a:r>
            <a:endParaRPr lang="de-AT" dirty="0"/>
          </a:p>
          <a:p>
            <a:pPr lvl="3"/>
            <a:r>
              <a:rPr lang="sk-SK" dirty="0"/>
              <a:t>Czwarty poziom</a:t>
            </a:r>
            <a:endParaRPr lang="de-AT" dirty="0"/>
          </a:p>
          <a:p>
            <a:pPr lvl="4"/>
            <a:r>
              <a:rPr lang="sk-SK" dirty="0"/>
              <a:t>Piąty poziom</a:t>
            </a:r>
            <a:endParaRPr lang="de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2712E8A-280C-4CEC-9EA7-933F3251AC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1A794849-C816-4B5D-BBC6-5D2554453C64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BA2971B-3E47-4B80-9470-25503E7400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EC6E529-9BC8-44A8-8052-B611D7597D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297327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91" r:id="rId2"/>
    <p:sldLayoutId id="2147483852" r:id="rId3"/>
    <p:sldLayoutId id="2147483685" r:id="rId4"/>
    <p:sldLayoutId id="2147483687" r:id="rId5"/>
    <p:sldLayoutId id="2147483827" r:id="rId6"/>
    <p:sldLayoutId id="2147483824" r:id="rId7"/>
    <p:sldLayoutId id="2147483830" r:id="rId8"/>
    <p:sldLayoutId id="2147483847" r:id="rId9"/>
    <p:sldLayoutId id="2147483785" r:id="rId10"/>
    <p:sldLayoutId id="2147483846" r:id="rId11"/>
    <p:sldLayoutId id="2147483800" r:id="rId12"/>
    <p:sldLayoutId id="2147483848" r:id="rId13"/>
    <p:sldLayoutId id="2147483770" r:id="rId14"/>
    <p:sldLayoutId id="2147483850" r:id="rId15"/>
    <p:sldLayoutId id="2147483771" r:id="rId16"/>
    <p:sldLayoutId id="2147483790" r:id="rId17"/>
    <p:sldLayoutId id="2147483773" r:id="rId18"/>
    <p:sldLayoutId id="2147483775" r:id="rId19"/>
    <p:sldLayoutId id="2147483851" r:id="rId20"/>
    <p:sldLayoutId id="2147483776" r:id="rId21"/>
    <p:sldLayoutId id="2147483811" r:id="rId22"/>
    <p:sldLayoutId id="2147483810" r:id="rId23"/>
    <p:sldLayoutId id="2147483809" r:id="rId24"/>
    <p:sldLayoutId id="2147483806" r:id="rId25"/>
    <p:sldLayoutId id="2147483813" r:id="rId26"/>
    <p:sldLayoutId id="2147483815" r:id="rId27"/>
    <p:sldLayoutId id="2147483818" r:id="rId28"/>
    <p:sldLayoutId id="2147483819" r:id="rId29"/>
    <p:sldLayoutId id="2147483793" r:id="rId30"/>
    <p:sldLayoutId id="2147483794" r:id="rId31"/>
    <p:sldLayoutId id="2147483801" r:id="rId32"/>
    <p:sldLayoutId id="2147483723" r:id="rId33"/>
    <p:sldLayoutId id="2147483805" r:id="rId34"/>
    <p:sldLayoutId id="2147483746" r:id="rId35"/>
    <p:sldLayoutId id="2147483747" r:id="rId36"/>
    <p:sldLayoutId id="2147483832" r:id="rId37"/>
    <p:sldLayoutId id="2147483836" r:id="rId38"/>
    <p:sldLayoutId id="2147483837" r:id="rId39"/>
    <p:sldLayoutId id="2147483765" r:id="rId40"/>
    <p:sldLayoutId id="2147483766" r:id="rId41"/>
    <p:sldLayoutId id="2147483854" r:id="rId42"/>
    <p:sldLayoutId id="2147483855" r:id="rId43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4150" indent="-184150" algn="l" defTabSz="360000" rtl="0" eaLnBrk="1" latinLnBrk="0" hangingPunct="1">
        <a:lnSpc>
          <a:spcPct val="10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25475" indent="-168275" algn="l" defTabSz="3600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066800" indent="-152400" algn="l" defTabSz="3600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511300" indent="-139700" algn="l" defTabSz="3600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55800" indent="-127000" algn="l" defTabSz="3600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0" userDrawn="1">
          <p15:clr>
            <a:srgbClr val="5ACBF0"/>
          </p15:clr>
        </p15:guide>
        <p15:guide id="2" pos="7428" userDrawn="1">
          <p15:clr>
            <a:srgbClr val="5ACBF0"/>
          </p15:clr>
        </p15:guide>
        <p15:guide id="3" orient="horz" pos="3938" userDrawn="1">
          <p15:clr>
            <a:srgbClr val="5ACBF0"/>
          </p15:clr>
        </p15:guide>
        <p15:guide id="4" orient="horz" pos="1071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9F8AB1E-E060-4665-8FD5-D90EF0914C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8874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1" imgH="412" progId="TCLayout.ActiveDocument.1">
                  <p:embed/>
                </p:oleObj>
              </mc:Choice>
              <mc:Fallback>
                <p:oleObj name="think-cell Folie" r:id="rId4" imgW="411" imgH="4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9F8AB1E-E060-4665-8FD5-D90EF0914C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864D258-6705-9044-B987-FB5EC491E8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6875" y="6262576"/>
            <a:ext cx="5268975" cy="818338"/>
          </a:xfrm>
        </p:spPr>
        <p:txBody>
          <a:bodyPr/>
          <a:lstStyle/>
          <a:p>
            <a:r>
              <a:rPr lang="pl-PL" dirty="0">
                <a:latin typeface="+mj-lt"/>
                <a:ea typeface="+mj-ea"/>
                <a:cs typeface="+mj-cs"/>
              </a:rPr>
              <a:t>14.02.2025</a:t>
            </a:r>
            <a:endParaRPr lang="de-AT" dirty="0">
              <a:latin typeface="+mj-lt"/>
              <a:ea typeface="+mj-ea"/>
              <a:cs typeface="+mj-cs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BC43447-50DC-2149-98B0-F217E1A27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4" y="2777117"/>
            <a:ext cx="5268975" cy="2124492"/>
          </a:xfrm>
        </p:spPr>
        <p:txBody>
          <a:bodyPr vert="horz"/>
          <a:lstStyle/>
          <a:p>
            <a:r>
              <a:rPr lang="pl-PL" sz="4000" dirty="0"/>
              <a:t>Wniosek elektroniczny </a:t>
            </a:r>
            <a:br>
              <a:rPr lang="pl-PL" sz="4000" dirty="0"/>
            </a:br>
            <a:br>
              <a:rPr lang="pl-PL" sz="4000" dirty="0"/>
            </a:br>
            <a:r>
              <a:rPr lang="pl-PL" sz="4000" dirty="0"/>
              <a:t>Bezpieczne Mieszkanie</a:t>
            </a:r>
            <a:br>
              <a:rPr lang="pl-PL" dirty="0"/>
            </a:br>
            <a:endParaRPr lang="de-DE" sz="2800" dirty="0"/>
          </a:p>
        </p:txBody>
      </p:sp>
      <p:pic>
        <p:nvPicPr>
          <p:cNvPr id="22" name="Symbol zastępczy obrazu 21" descr="Obraz zawierający tekst, komputer, Ludzka twarz, zrzut ekranu&#10;&#10;Opis wygenerowany automatycznie">
            <a:extLst>
              <a:ext uri="{FF2B5EF4-FFF2-40B4-BE49-F238E27FC236}">
                <a16:creationId xmlns:a16="http://schemas.microsoft.com/office/drawing/2014/main" id="{08F57D45-1683-4FE8-9EFE-46289993CCC1}"/>
              </a:ext>
            </a:extLst>
          </p:cNvPr>
          <p:cNvPicPr>
            <a:picLocks noGrp="1" noChangeAspect="1"/>
          </p:cNvPicPr>
          <p:nvPr>
            <p:ph type="pic" idx="10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31" b="503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755948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6BCEA11-9050-E7A6-92FC-24C91C1A9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2800" dirty="0"/>
              <a:t>Materiały marketingowe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55C147E3-A034-898F-6713-04820912753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0EE247-482B-43B2-AB8D-50BA2CC21AEB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E450F8E0-3B8F-D72A-A9D9-4E54D804EB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A0E50EBA-02F9-392D-9A91-6D6BD605EB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10</a:t>
            </a:fld>
            <a:endParaRPr lang="de-AT" dirty="0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9E78C171-26DD-3E49-4F80-1D5D7B1744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663026">
            <a:off x="6998356" y="736749"/>
            <a:ext cx="4362040" cy="205140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3A681BA8-BF42-DA03-7136-2E85F6E18D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1126666">
            <a:off x="781911" y="1296503"/>
            <a:ext cx="3352434" cy="493377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5" name="Obraz 14">
            <a:extLst>
              <a:ext uri="{FF2B5EF4-FFF2-40B4-BE49-F238E27FC236}">
                <a16:creationId xmlns:a16="http://schemas.microsoft.com/office/drawing/2014/main" id="{80EC97B7-05A9-E7A7-13C9-7E59AC50E0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91424">
            <a:off x="8324661" y="3197538"/>
            <a:ext cx="3213554" cy="325809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686DEA2F-26FC-DDA9-F528-B28E9441CD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28445" y="3225394"/>
            <a:ext cx="4665447" cy="266675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1" name="Obraz 10" descr="Obraz zawierający żółty, pomarańcza/pomarańczowy, design">
            <a:extLst>
              <a:ext uri="{FF2B5EF4-FFF2-40B4-BE49-F238E27FC236}">
                <a16:creationId xmlns:a16="http://schemas.microsoft.com/office/drawing/2014/main" id="{71F07AB7-000B-AD67-C3FC-96220FAB92F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9750" y="1840850"/>
            <a:ext cx="4804416" cy="1067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6863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151E9C7-66F1-6A46-BE37-D2FB7C58D35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87821" y="1979848"/>
            <a:ext cx="5187951" cy="2517305"/>
          </a:xfrm>
        </p:spPr>
        <p:txBody>
          <a:bodyPr/>
          <a:lstStyle/>
          <a:p>
            <a:r>
              <a:rPr lang="pl-PL" sz="6000" dirty="0"/>
              <a:t>Dziękuję</a:t>
            </a:r>
          </a:p>
          <a:p>
            <a:r>
              <a:rPr lang="pl-PL" sz="2400" dirty="0"/>
              <a:t>za udział</a:t>
            </a:r>
            <a:endParaRPr lang="de-AT" sz="2400" dirty="0"/>
          </a:p>
        </p:txBody>
      </p:sp>
    </p:spTree>
    <p:extLst>
      <p:ext uri="{BB962C8B-B14F-4D97-AF65-F5344CB8AC3E}">
        <p14:creationId xmlns:p14="http://schemas.microsoft.com/office/powerpoint/2010/main" val="24652392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622E2AB-0D37-4DD5-AD6F-6F83D4BEC0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8828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1" imgH="412" progId="TCLayout.ActiveDocument.1">
                  <p:embed/>
                </p:oleObj>
              </mc:Choice>
              <mc:Fallback>
                <p:oleObj name="think-cell Folie" r:id="rId4" imgW="411" imgH="4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622E2AB-0D37-4DD5-AD6F-6F83D4BEC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Titel 72">
            <a:extLst>
              <a:ext uri="{FF2B5EF4-FFF2-40B4-BE49-F238E27FC236}">
                <a16:creationId xmlns:a16="http://schemas.microsoft.com/office/drawing/2014/main" id="{9DEA60FD-7B15-2142-AA9E-A8341BEB3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785" y="869922"/>
            <a:ext cx="10088485" cy="440182"/>
          </a:xfrm>
        </p:spPr>
        <p:txBody>
          <a:bodyPr vert="horz"/>
          <a:lstStyle/>
          <a:p>
            <a:r>
              <a:rPr lang="de-DE" dirty="0">
                <a:latin typeface="UNIQA Galano" panose="02010003040200000000" pitchFamily="50" charset="0"/>
              </a:rPr>
              <a:t>Agenda</a:t>
            </a:r>
          </a:p>
        </p:txBody>
      </p:sp>
      <p:sp>
        <p:nvSpPr>
          <p:cNvPr id="115" name="Textplatzhalter 114">
            <a:extLst>
              <a:ext uri="{FF2B5EF4-FFF2-40B4-BE49-F238E27FC236}">
                <a16:creationId xmlns:a16="http://schemas.microsoft.com/office/drawing/2014/main" id="{2642DE54-C98F-F64E-A260-C725FC3C76CC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266491" y="2299196"/>
            <a:ext cx="721386" cy="659276"/>
          </a:xfrm>
        </p:spPr>
        <p:txBody>
          <a:bodyPr/>
          <a:lstStyle/>
          <a:p>
            <a:r>
              <a:rPr lang="de-DE" sz="3200" dirty="0">
                <a:latin typeface="UNIQA Galano" panose="02010003040200000000" pitchFamily="50" charset="0"/>
              </a:rPr>
              <a:t>01</a:t>
            </a:r>
          </a:p>
        </p:txBody>
      </p:sp>
      <p:sp>
        <p:nvSpPr>
          <p:cNvPr id="162" name="Textplatzhalter 161">
            <a:extLst>
              <a:ext uri="{FF2B5EF4-FFF2-40B4-BE49-F238E27FC236}">
                <a16:creationId xmlns:a16="http://schemas.microsoft.com/office/drawing/2014/main" id="{3FB2FDBA-3A26-0A4D-834A-F37F5CF408BB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1120025" y="2299958"/>
            <a:ext cx="10451478" cy="659276"/>
          </a:xfrm>
        </p:spPr>
        <p:txBody>
          <a:bodyPr/>
          <a:lstStyle/>
          <a:p>
            <a:r>
              <a:rPr lang="pl-PL" sz="2200" b="1" dirty="0">
                <a:latin typeface="UNIQA Galano" panose="02010003040200000000" pitchFamily="50" charset="0"/>
              </a:rPr>
              <a:t>Przyczyny aktualizacji wniosku www – </a:t>
            </a:r>
            <a:r>
              <a:rPr lang="pl-PL" sz="2200" dirty="0">
                <a:latin typeface="UNIQA Galano" panose="02010003040200000000" pitchFamily="50" charset="0"/>
              </a:rPr>
              <a:t>regulacje, wytyczne</a:t>
            </a:r>
            <a:endParaRPr lang="de-DE" sz="2200" dirty="0">
              <a:latin typeface="UNIQA Galano" panose="02010003040200000000" pitchFamily="50" charset="0"/>
            </a:endParaRPr>
          </a:p>
        </p:txBody>
      </p:sp>
      <p:sp>
        <p:nvSpPr>
          <p:cNvPr id="118" name="Textplatzhalter 117">
            <a:extLst>
              <a:ext uri="{FF2B5EF4-FFF2-40B4-BE49-F238E27FC236}">
                <a16:creationId xmlns:a16="http://schemas.microsoft.com/office/drawing/2014/main" id="{53EA4A7D-41AD-9244-A44A-332A6BEA4313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239741" y="2926702"/>
            <a:ext cx="721386" cy="659276"/>
          </a:xfrm>
        </p:spPr>
        <p:txBody>
          <a:bodyPr/>
          <a:lstStyle/>
          <a:p>
            <a:r>
              <a:rPr lang="de-DE" sz="3200" dirty="0">
                <a:latin typeface="UNIQA Galano" panose="02010003040200000000" pitchFamily="50" charset="0"/>
              </a:rPr>
              <a:t>02</a:t>
            </a:r>
          </a:p>
        </p:txBody>
      </p:sp>
      <p:sp>
        <p:nvSpPr>
          <p:cNvPr id="3" name="Textplatzhalter 117">
            <a:extLst>
              <a:ext uri="{FF2B5EF4-FFF2-40B4-BE49-F238E27FC236}">
                <a16:creationId xmlns:a16="http://schemas.microsoft.com/office/drawing/2014/main" id="{C2289D4B-469F-FC18-6C36-A111997327EF}"/>
              </a:ext>
            </a:extLst>
          </p:cNvPr>
          <p:cNvSpPr txBox="1">
            <a:spLocks/>
          </p:cNvSpPr>
          <p:nvPr/>
        </p:nvSpPr>
        <p:spPr>
          <a:xfrm>
            <a:off x="239741" y="3617926"/>
            <a:ext cx="721386" cy="65927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3600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4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3200" dirty="0">
                <a:latin typeface="UNIQA Galano" panose="02010003040200000000" pitchFamily="50" charset="0"/>
              </a:rPr>
              <a:t>0</a:t>
            </a:r>
            <a:r>
              <a:rPr lang="pl-PL" sz="3200" dirty="0">
                <a:latin typeface="UNIQA Galano" panose="02010003040200000000" pitchFamily="50" charset="0"/>
              </a:rPr>
              <a:t>3</a:t>
            </a:r>
            <a:endParaRPr lang="de-DE" sz="3200" dirty="0">
              <a:latin typeface="UNIQA Galano" panose="02010003040200000000" pitchFamily="50" charset="0"/>
            </a:endParaRPr>
          </a:p>
        </p:txBody>
      </p:sp>
      <p:sp>
        <p:nvSpPr>
          <p:cNvPr id="4" name="Textplatzhalter 117">
            <a:extLst>
              <a:ext uri="{FF2B5EF4-FFF2-40B4-BE49-F238E27FC236}">
                <a16:creationId xmlns:a16="http://schemas.microsoft.com/office/drawing/2014/main" id="{6B662C51-9AC0-6130-3DBD-A6DCC9E73A9D}"/>
              </a:ext>
            </a:extLst>
          </p:cNvPr>
          <p:cNvSpPr txBox="1">
            <a:spLocks/>
          </p:cNvSpPr>
          <p:nvPr/>
        </p:nvSpPr>
        <p:spPr>
          <a:xfrm>
            <a:off x="253116" y="4309150"/>
            <a:ext cx="721386" cy="65927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3600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4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3200" dirty="0">
                <a:latin typeface="UNIQA Galano" panose="02010003040200000000" pitchFamily="50" charset="0"/>
              </a:rPr>
              <a:t>0</a:t>
            </a:r>
            <a:r>
              <a:rPr lang="pl-PL" sz="3200" dirty="0">
                <a:latin typeface="UNIQA Galano" panose="02010003040200000000" pitchFamily="50" charset="0"/>
              </a:rPr>
              <a:t>4</a:t>
            </a:r>
            <a:endParaRPr lang="de-DE" sz="3200" dirty="0">
              <a:latin typeface="UNIQA Galano" panose="02010003040200000000" pitchFamily="50" charset="0"/>
            </a:endParaRPr>
          </a:p>
        </p:txBody>
      </p:sp>
      <p:sp>
        <p:nvSpPr>
          <p:cNvPr id="6" name="Textplatzhalter 161">
            <a:extLst>
              <a:ext uri="{FF2B5EF4-FFF2-40B4-BE49-F238E27FC236}">
                <a16:creationId xmlns:a16="http://schemas.microsoft.com/office/drawing/2014/main" id="{60D3C04F-A27B-4ACF-8225-A66285262D22}"/>
              </a:ext>
            </a:extLst>
          </p:cNvPr>
          <p:cNvSpPr txBox="1">
            <a:spLocks/>
          </p:cNvSpPr>
          <p:nvPr/>
        </p:nvSpPr>
        <p:spPr>
          <a:xfrm>
            <a:off x="1126713" y="2915227"/>
            <a:ext cx="10451478" cy="65927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3600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2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2200" b="1" dirty="0">
                <a:latin typeface="UNIQA Galano" panose="02010003040200000000" pitchFamily="50" charset="0"/>
              </a:rPr>
              <a:t>Funkcjonalności wniosku www – </a:t>
            </a:r>
            <a:r>
              <a:rPr lang="pl-PL" sz="2200" dirty="0">
                <a:latin typeface="UNIQA Galano" panose="02010003040200000000" pitchFamily="50" charset="0"/>
              </a:rPr>
              <a:t>założenia, obowiązki po stronie JT</a:t>
            </a:r>
            <a:endParaRPr lang="de-DE" sz="2200" dirty="0">
              <a:latin typeface="UNIQA Galano" panose="02010003040200000000" pitchFamily="50" charset="0"/>
            </a:endParaRPr>
          </a:p>
        </p:txBody>
      </p:sp>
      <p:sp>
        <p:nvSpPr>
          <p:cNvPr id="7" name="Textplatzhalter 161">
            <a:extLst>
              <a:ext uri="{FF2B5EF4-FFF2-40B4-BE49-F238E27FC236}">
                <a16:creationId xmlns:a16="http://schemas.microsoft.com/office/drawing/2014/main" id="{8830E1B5-5D46-01F9-923D-74CDA8C9B340}"/>
              </a:ext>
            </a:extLst>
          </p:cNvPr>
          <p:cNvSpPr txBox="1">
            <a:spLocks/>
          </p:cNvSpPr>
          <p:nvPr/>
        </p:nvSpPr>
        <p:spPr>
          <a:xfrm>
            <a:off x="1135157" y="5533437"/>
            <a:ext cx="10451478" cy="65927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3600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2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2200" b="1" dirty="0">
                <a:latin typeface="UNIQA Galano" panose="02010003040200000000" pitchFamily="50" charset="0"/>
              </a:rPr>
              <a:t>Zaktualizowane / nowe linki – </a:t>
            </a:r>
            <a:r>
              <a:rPr lang="pl-PL" sz="2200" dirty="0">
                <a:latin typeface="UNIQA Galano" panose="02010003040200000000" pitchFamily="50" charset="0"/>
              </a:rPr>
              <a:t>plan działania</a:t>
            </a:r>
            <a:endParaRPr lang="de-DE" sz="2200" dirty="0">
              <a:latin typeface="UNIQA Galano" panose="02010003040200000000" pitchFamily="50" charset="0"/>
            </a:endParaRPr>
          </a:p>
        </p:txBody>
      </p:sp>
      <p:sp>
        <p:nvSpPr>
          <p:cNvPr id="8" name="Textplatzhalter 161">
            <a:extLst>
              <a:ext uri="{FF2B5EF4-FFF2-40B4-BE49-F238E27FC236}">
                <a16:creationId xmlns:a16="http://schemas.microsoft.com/office/drawing/2014/main" id="{5445E9B4-D4F8-B156-8B40-D9C9659FA623}"/>
              </a:ext>
            </a:extLst>
          </p:cNvPr>
          <p:cNvSpPr txBox="1">
            <a:spLocks/>
          </p:cNvSpPr>
          <p:nvPr/>
        </p:nvSpPr>
        <p:spPr>
          <a:xfrm>
            <a:off x="1135157" y="4305685"/>
            <a:ext cx="10451478" cy="65927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3600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2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2200" b="1" dirty="0">
                <a:latin typeface="UNIQA Galano" panose="02010003040200000000" pitchFamily="50" charset="0"/>
              </a:rPr>
              <a:t>Zmiany systemowe w POS – </a:t>
            </a:r>
            <a:r>
              <a:rPr lang="pl-PL" sz="2200" dirty="0">
                <a:latin typeface="UNIQA Galano" panose="02010003040200000000" pitchFamily="50" charset="0"/>
              </a:rPr>
              <a:t>rejestracja wniosku www</a:t>
            </a:r>
            <a:endParaRPr lang="de-DE" sz="2200" dirty="0">
              <a:latin typeface="UNIQA Galano" panose="02010003040200000000" pitchFamily="50" charset="0"/>
            </a:endParaRPr>
          </a:p>
        </p:txBody>
      </p:sp>
      <p:sp>
        <p:nvSpPr>
          <p:cNvPr id="9" name="Textplatzhalter 117">
            <a:extLst>
              <a:ext uri="{FF2B5EF4-FFF2-40B4-BE49-F238E27FC236}">
                <a16:creationId xmlns:a16="http://schemas.microsoft.com/office/drawing/2014/main" id="{6DC603BC-5CED-F36F-7931-8DFA14767E72}"/>
              </a:ext>
            </a:extLst>
          </p:cNvPr>
          <p:cNvSpPr txBox="1">
            <a:spLocks/>
          </p:cNvSpPr>
          <p:nvPr/>
        </p:nvSpPr>
        <p:spPr>
          <a:xfrm>
            <a:off x="266491" y="5565544"/>
            <a:ext cx="721386" cy="65927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3600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4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3200" dirty="0">
                <a:latin typeface="UNIQA Galano" panose="02010003040200000000" pitchFamily="50" charset="0"/>
              </a:rPr>
              <a:t>0</a:t>
            </a:r>
            <a:r>
              <a:rPr lang="pl-PL" sz="3200" dirty="0">
                <a:latin typeface="UNIQA Galano" panose="02010003040200000000" pitchFamily="50" charset="0"/>
              </a:rPr>
              <a:t>6</a:t>
            </a:r>
            <a:endParaRPr lang="de-DE" sz="3200" dirty="0">
              <a:latin typeface="UNIQA Galano" panose="02010003040200000000" pitchFamily="50" charset="0"/>
            </a:endParaRPr>
          </a:p>
        </p:txBody>
      </p:sp>
      <p:sp>
        <p:nvSpPr>
          <p:cNvPr id="11" name="Textplatzhalter 161">
            <a:extLst>
              <a:ext uri="{FF2B5EF4-FFF2-40B4-BE49-F238E27FC236}">
                <a16:creationId xmlns:a16="http://schemas.microsoft.com/office/drawing/2014/main" id="{3F5C95C8-EF1E-E623-80BB-527B0D8A5597}"/>
              </a:ext>
            </a:extLst>
          </p:cNvPr>
          <p:cNvSpPr txBox="1">
            <a:spLocks/>
          </p:cNvSpPr>
          <p:nvPr/>
        </p:nvSpPr>
        <p:spPr>
          <a:xfrm>
            <a:off x="1135157" y="4945494"/>
            <a:ext cx="10367083" cy="65927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3600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2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2200" b="1" dirty="0">
                <a:latin typeface="UNIQA Galano" panose="02010003040200000000" pitchFamily="50" charset="0"/>
              </a:rPr>
              <a:t>Materiały marketingowe – </a:t>
            </a:r>
            <a:r>
              <a:rPr lang="pl-PL" sz="2200" dirty="0">
                <a:latin typeface="UNIQA Galano" panose="02010003040200000000" pitchFamily="50" charset="0"/>
              </a:rPr>
              <a:t>kody QR, naklejki, plakaty, banery</a:t>
            </a:r>
            <a:endParaRPr lang="de-DE" sz="2200" dirty="0">
              <a:latin typeface="UNIQA Galano" panose="02010003040200000000" pitchFamily="50" charset="0"/>
            </a:endParaRPr>
          </a:p>
        </p:txBody>
      </p:sp>
      <p:sp>
        <p:nvSpPr>
          <p:cNvPr id="5" name="Textplatzhalter 161">
            <a:extLst>
              <a:ext uri="{FF2B5EF4-FFF2-40B4-BE49-F238E27FC236}">
                <a16:creationId xmlns:a16="http://schemas.microsoft.com/office/drawing/2014/main" id="{DBB4ED7B-23B2-3D02-60B8-9F4BEFD6D15A}"/>
              </a:ext>
            </a:extLst>
          </p:cNvPr>
          <p:cNvSpPr txBox="1">
            <a:spLocks/>
          </p:cNvSpPr>
          <p:nvPr/>
        </p:nvSpPr>
        <p:spPr>
          <a:xfrm>
            <a:off x="1126713" y="3637199"/>
            <a:ext cx="10451478" cy="65927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3600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2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2200" b="1" dirty="0">
                <a:latin typeface="UNIQA Galano" panose="02010003040200000000" pitchFamily="50" charset="0"/>
              </a:rPr>
              <a:t>Złożenie wniosku www – </a:t>
            </a:r>
            <a:r>
              <a:rPr lang="pl-PL" sz="2200" dirty="0">
                <a:latin typeface="UNIQA Galano" panose="02010003040200000000" pitchFamily="50" charset="0"/>
              </a:rPr>
              <a:t>poszczególne kroki</a:t>
            </a:r>
            <a:endParaRPr lang="de-DE" sz="2200" dirty="0">
              <a:latin typeface="UNIQA Galano" panose="02010003040200000000" pitchFamily="50" charset="0"/>
            </a:endParaRPr>
          </a:p>
        </p:txBody>
      </p:sp>
      <p:sp>
        <p:nvSpPr>
          <p:cNvPr id="10" name="Textplatzhalter 117">
            <a:extLst>
              <a:ext uri="{FF2B5EF4-FFF2-40B4-BE49-F238E27FC236}">
                <a16:creationId xmlns:a16="http://schemas.microsoft.com/office/drawing/2014/main" id="{F86A1144-7AA9-7CD4-C0D7-64E0D6942016}"/>
              </a:ext>
            </a:extLst>
          </p:cNvPr>
          <p:cNvSpPr txBox="1">
            <a:spLocks/>
          </p:cNvSpPr>
          <p:nvPr/>
        </p:nvSpPr>
        <p:spPr>
          <a:xfrm>
            <a:off x="266491" y="4939600"/>
            <a:ext cx="721386" cy="65927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3600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4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3200" dirty="0">
                <a:latin typeface="UNIQA Galano" panose="02010003040200000000" pitchFamily="50" charset="0"/>
              </a:rPr>
              <a:t>0</a:t>
            </a:r>
            <a:r>
              <a:rPr lang="pl-PL" sz="3200" dirty="0">
                <a:latin typeface="UNIQA Galano" panose="02010003040200000000" pitchFamily="50" charset="0"/>
              </a:rPr>
              <a:t>5</a:t>
            </a:r>
            <a:endParaRPr lang="de-DE" sz="3200" dirty="0">
              <a:latin typeface="UNIQA Galano" panose="020100030402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47391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40E4B8-C47F-C9A5-E979-73118EA3FF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rostokąt 4">
            <a:extLst>
              <a:ext uri="{FF2B5EF4-FFF2-40B4-BE49-F238E27FC236}">
                <a16:creationId xmlns:a16="http://schemas.microsoft.com/office/drawing/2014/main" id="{7F3B72B6-7077-6E44-344F-E91ECBA69370}"/>
              </a:ext>
            </a:extLst>
          </p:cNvPr>
          <p:cNvSpPr/>
          <p:nvPr/>
        </p:nvSpPr>
        <p:spPr>
          <a:xfrm>
            <a:off x="1" y="0"/>
            <a:ext cx="4562763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>
              <a:latin typeface="Galano" panose="02010003040200000000" pitchFamily="50" charset="0"/>
            </a:endParaRPr>
          </a:p>
        </p:txBody>
      </p:sp>
      <p:cxnSp>
        <p:nvCxnSpPr>
          <p:cNvPr id="4" name="Łącznik prosty 3">
            <a:extLst>
              <a:ext uri="{FF2B5EF4-FFF2-40B4-BE49-F238E27FC236}">
                <a16:creationId xmlns:a16="http://schemas.microsoft.com/office/drawing/2014/main" id="{CD7B3AB4-4260-0AD7-C842-898965C53C8D}"/>
              </a:ext>
            </a:extLst>
          </p:cNvPr>
          <p:cNvCxnSpPr/>
          <p:nvPr/>
        </p:nvCxnSpPr>
        <p:spPr>
          <a:xfrm>
            <a:off x="395926" y="734211"/>
            <a:ext cx="114158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2">
            <a:extLst>
              <a:ext uri="{FF2B5EF4-FFF2-40B4-BE49-F238E27FC236}">
                <a16:creationId xmlns:a16="http://schemas.microsoft.com/office/drawing/2014/main" id="{4CA7310D-124E-6962-C940-0A78436DE391}"/>
              </a:ext>
            </a:extLst>
          </p:cNvPr>
          <p:cNvSpPr txBox="1">
            <a:spLocks/>
          </p:cNvSpPr>
          <p:nvPr/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/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AT" sz="900" dirty="0">
              <a:solidFill>
                <a:srgbClr val="CCCCCC">
                  <a:lumMod val="75000"/>
                </a:srgbClr>
              </a:solidFill>
              <a:latin typeface="Arial" panose="020B0604020202020204"/>
            </a:endParaRPr>
          </a:p>
        </p:txBody>
      </p:sp>
      <p:pic>
        <p:nvPicPr>
          <p:cNvPr id="38" name="Grafik 7">
            <a:extLst>
              <a:ext uri="{FF2B5EF4-FFF2-40B4-BE49-F238E27FC236}">
                <a16:creationId xmlns:a16="http://schemas.microsoft.com/office/drawing/2014/main" id="{E977DD80-EF0F-DA2F-0128-538FA64CCD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1029" y="285966"/>
            <a:ext cx="1798639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el 36">
            <a:extLst>
              <a:ext uri="{FF2B5EF4-FFF2-40B4-BE49-F238E27FC236}">
                <a16:creationId xmlns:a16="http://schemas.microsoft.com/office/drawing/2014/main" id="{B42CE782-FEF3-E4D2-E5DC-1550C8A1B320}"/>
              </a:ext>
            </a:extLst>
          </p:cNvPr>
          <p:cNvSpPr txBox="1">
            <a:spLocks/>
          </p:cNvSpPr>
          <p:nvPr/>
        </p:nvSpPr>
        <p:spPr>
          <a:xfrm>
            <a:off x="395926" y="1653842"/>
            <a:ext cx="5404799" cy="918641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l-PL" sz="2400" dirty="0">
              <a:solidFill>
                <a:schemeClr val="accent1">
                  <a:lumMod val="7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8" name="Titel 36">
            <a:extLst>
              <a:ext uri="{FF2B5EF4-FFF2-40B4-BE49-F238E27FC236}">
                <a16:creationId xmlns:a16="http://schemas.microsoft.com/office/drawing/2014/main" id="{8DF88254-46A3-D556-E74E-02A91D0EB1F7}"/>
              </a:ext>
            </a:extLst>
          </p:cNvPr>
          <p:cNvSpPr txBox="1">
            <a:spLocks/>
          </p:cNvSpPr>
          <p:nvPr/>
        </p:nvSpPr>
        <p:spPr>
          <a:xfrm>
            <a:off x="543564" y="1463213"/>
            <a:ext cx="5404799" cy="918641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l-PL" sz="2400" dirty="0">
              <a:solidFill>
                <a:schemeClr val="accent1">
                  <a:lumMod val="7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" name="Titel 36">
            <a:extLst>
              <a:ext uri="{FF2B5EF4-FFF2-40B4-BE49-F238E27FC236}">
                <a16:creationId xmlns:a16="http://schemas.microsoft.com/office/drawing/2014/main" id="{C6F6D48F-76E8-2668-CF71-7330800101EE}"/>
              </a:ext>
            </a:extLst>
          </p:cNvPr>
          <p:cNvSpPr txBox="1">
            <a:spLocks/>
          </p:cNvSpPr>
          <p:nvPr/>
        </p:nvSpPr>
        <p:spPr>
          <a:xfrm>
            <a:off x="481029" y="1604903"/>
            <a:ext cx="3947351" cy="918641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solidFill>
                  <a:schemeClr val="accent1"/>
                </a:solidFill>
                <a:latin typeface="UNIQA Galano" panose="02010003040200000000" pitchFamily="50" charset="0"/>
                <a:ea typeface="+mn-ea"/>
                <a:cs typeface="+mn-cs"/>
              </a:rPr>
              <a:t>Przyczyny</a:t>
            </a:r>
          </a:p>
          <a:p>
            <a:r>
              <a:rPr lang="pl-PL" sz="2400" b="1" dirty="0">
                <a:solidFill>
                  <a:schemeClr val="accent1"/>
                </a:solidFill>
                <a:latin typeface="UNIQA Galano" panose="02010003040200000000" pitchFamily="50" charset="0"/>
                <a:ea typeface="+mn-ea"/>
                <a:cs typeface="+mn-cs"/>
              </a:rPr>
              <a:t>aktualizacji </a:t>
            </a:r>
          </a:p>
          <a:p>
            <a:endParaRPr lang="pl-PL" sz="2400" dirty="0">
              <a:solidFill>
                <a:schemeClr val="accent1"/>
              </a:solidFill>
              <a:latin typeface="UNIQA Galano" panose="02010003040200000000" pitchFamily="50" charset="0"/>
              <a:ea typeface="+mn-ea"/>
              <a:cs typeface="+mn-cs"/>
            </a:endParaRPr>
          </a:p>
          <a:p>
            <a:r>
              <a:rPr lang="pl-PL" sz="2400" b="1" dirty="0">
                <a:solidFill>
                  <a:schemeClr val="accent1"/>
                </a:solidFill>
                <a:latin typeface="UNIQA Galano" panose="02010003040200000000" pitchFamily="50" charset="0"/>
                <a:ea typeface="+mn-ea"/>
                <a:cs typeface="+mn-cs"/>
              </a:rPr>
              <a:t>wniosku elektronicznego Bezpieczne Mieszkanie</a:t>
            </a:r>
          </a:p>
          <a:p>
            <a:endParaRPr lang="pl-PL" sz="2400" dirty="0">
              <a:solidFill>
                <a:schemeClr val="accent1">
                  <a:lumMod val="7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15" name="pole tekstowe 14">
            <a:extLst>
              <a:ext uri="{FF2B5EF4-FFF2-40B4-BE49-F238E27FC236}">
                <a16:creationId xmlns:a16="http://schemas.microsoft.com/office/drawing/2014/main" id="{D905ADF9-6369-5BAD-3108-6606891FFC71}"/>
              </a:ext>
            </a:extLst>
          </p:cNvPr>
          <p:cNvSpPr txBox="1"/>
          <p:nvPr/>
        </p:nvSpPr>
        <p:spPr>
          <a:xfrm>
            <a:off x="4772937" y="676144"/>
            <a:ext cx="6938034" cy="57554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  <a:ea typeface="+mn-ea"/>
              <a:cs typeface="+mn-cs"/>
            </a:endParaRPr>
          </a:p>
          <a:p>
            <a:pPr algn="ctr"/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  <a:ea typeface="+mn-ea"/>
              <a:cs typeface="+mn-cs"/>
            </a:endParaRPr>
          </a:p>
          <a:p>
            <a:pPr algn="ctr"/>
            <a:endParaRPr lang="pl-PL" sz="800" dirty="0">
              <a:solidFill>
                <a:schemeClr val="accent1"/>
              </a:solidFill>
              <a:latin typeface="UNIQA Galano" panose="02010003040200000000" pitchFamily="50" charset="0"/>
              <a:ea typeface="+mn-ea"/>
              <a:cs typeface="+mn-cs"/>
            </a:endParaRPr>
          </a:p>
          <a:p>
            <a:pPr marL="342900" indent="-342900" algn="ctr">
              <a:buFont typeface="Wingdings" panose="05000000000000000000" pitchFamily="2" charset="2"/>
              <a:buChar char="Ø"/>
            </a:pPr>
            <a:r>
              <a:rPr lang="pl-PL" sz="2000" b="1" dirty="0">
                <a:solidFill>
                  <a:schemeClr val="accent1"/>
                </a:solidFill>
                <a:latin typeface="UNIQA Galano" panose="02010003040200000000" pitchFamily="50" charset="0"/>
              </a:rPr>
              <a:t>Analiza potrzeb klienta</a:t>
            </a:r>
          </a:p>
          <a:p>
            <a:pPr algn="ctr"/>
            <a:r>
              <a:rPr lang="pl-PL" sz="2000" dirty="0">
                <a:solidFill>
                  <a:schemeClr val="accent1"/>
                </a:solidFill>
                <a:latin typeface="UNIQA Galano" panose="02010003040200000000" pitchFamily="50" charset="0"/>
              </a:rPr>
              <a:t>jako pierwszy krok w procesie złożenia wniosku</a:t>
            </a:r>
          </a:p>
          <a:p>
            <a:pPr marL="342900" indent="-342900" algn="ctr">
              <a:buFont typeface="Wingdings" panose="05000000000000000000" pitchFamily="2" charset="2"/>
              <a:buChar char="Ø"/>
            </a:pPr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algn="ctr"/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marL="342900" indent="-342900" algn="ctr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l-PL" sz="2000" b="1" dirty="0">
                <a:solidFill>
                  <a:schemeClr val="accent1"/>
                </a:solidFill>
                <a:latin typeface="UNIQA Galano" panose="02010003040200000000" pitchFamily="50" charset="0"/>
              </a:rPr>
              <a:t>Aktualizacja dokumentów</a:t>
            </a:r>
          </a:p>
          <a:p>
            <a:pPr marL="342900" indent="-34290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2000" dirty="0">
                <a:solidFill>
                  <a:schemeClr val="accent1"/>
                </a:solidFill>
                <a:latin typeface="UNIQA Galano" panose="02010003040200000000" pitchFamily="50" charset="0"/>
              </a:rPr>
              <a:t>Nowy regulamin świadczenia usług drogą elektroniczną</a:t>
            </a:r>
          </a:p>
          <a:p>
            <a:pPr marL="342900" indent="-34290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2000" dirty="0">
                <a:solidFill>
                  <a:schemeClr val="accent1"/>
                </a:solidFill>
                <a:latin typeface="UNIQA Galano" panose="02010003040200000000" pitchFamily="50" charset="0"/>
              </a:rPr>
              <a:t>Obowiązki informacyjne UNIQA</a:t>
            </a:r>
          </a:p>
          <a:p>
            <a:pPr marL="342900" indent="-34290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2000" dirty="0">
                <a:solidFill>
                  <a:schemeClr val="accent1"/>
                </a:solidFill>
                <a:latin typeface="UNIQA Galano" panose="02010003040200000000" pitchFamily="50" charset="0"/>
              </a:rPr>
              <a:t>Informacje dot. Agenta U-Services/ Agenta UNIQA</a:t>
            </a:r>
          </a:p>
          <a:p>
            <a:pPr algn="ctr"/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algn="ctr"/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marL="342900" indent="-342900" algn="ctr">
              <a:buFont typeface="Wingdings" panose="05000000000000000000" pitchFamily="2" charset="2"/>
              <a:buChar char="Ø"/>
            </a:pPr>
            <a:r>
              <a:rPr lang="pl-PL" sz="2000" b="1" dirty="0">
                <a:solidFill>
                  <a:schemeClr val="accent1"/>
                </a:solidFill>
                <a:latin typeface="UNIQA Galano" panose="02010003040200000000" pitchFamily="50" charset="0"/>
              </a:rPr>
              <a:t>Nowy wygląd wniosku</a:t>
            </a:r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marL="342900" indent="-342900" algn="ctr">
              <a:buFont typeface="Wingdings" panose="05000000000000000000" pitchFamily="2" charset="2"/>
              <a:buChar char="Ø"/>
            </a:pPr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algn="ctr"/>
            <a:endParaRPr lang="pl-PL" sz="2000" b="1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algn="ctr"/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45594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rostokąt 4">
            <a:extLst>
              <a:ext uri="{FF2B5EF4-FFF2-40B4-BE49-F238E27FC236}">
                <a16:creationId xmlns:a16="http://schemas.microsoft.com/office/drawing/2014/main" id="{07D7FDE3-EB38-3B48-9E37-C3DABEB97A64}"/>
              </a:ext>
            </a:extLst>
          </p:cNvPr>
          <p:cNvSpPr/>
          <p:nvPr/>
        </p:nvSpPr>
        <p:spPr>
          <a:xfrm>
            <a:off x="1" y="0"/>
            <a:ext cx="4562763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>
              <a:latin typeface="Galano" panose="02010003040200000000" pitchFamily="50" charset="0"/>
            </a:endParaRPr>
          </a:p>
        </p:txBody>
      </p:sp>
      <p:cxnSp>
        <p:nvCxnSpPr>
          <p:cNvPr id="4" name="Łącznik prosty 3">
            <a:extLst>
              <a:ext uri="{FF2B5EF4-FFF2-40B4-BE49-F238E27FC236}">
                <a16:creationId xmlns:a16="http://schemas.microsoft.com/office/drawing/2014/main" id="{73F98281-ADC3-1DF1-07F5-A5C469BEABA0}"/>
              </a:ext>
            </a:extLst>
          </p:cNvPr>
          <p:cNvCxnSpPr/>
          <p:nvPr/>
        </p:nvCxnSpPr>
        <p:spPr>
          <a:xfrm>
            <a:off x="395926" y="734211"/>
            <a:ext cx="114158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2">
            <a:extLst>
              <a:ext uri="{FF2B5EF4-FFF2-40B4-BE49-F238E27FC236}">
                <a16:creationId xmlns:a16="http://schemas.microsoft.com/office/drawing/2014/main" id="{4F8D7D6A-62EF-10C6-033B-3FF3CC26BCBC}"/>
              </a:ext>
            </a:extLst>
          </p:cNvPr>
          <p:cNvSpPr txBox="1">
            <a:spLocks/>
          </p:cNvSpPr>
          <p:nvPr/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/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AT" sz="900" dirty="0">
              <a:solidFill>
                <a:srgbClr val="CCCCCC">
                  <a:lumMod val="75000"/>
                </a:srgbClr>
              </a:solidFill>
              <a:latin typeface="Arial" panose="020B0604020202020204"/>
            </a:endParaRPr>
          </a:p>
        </p:txBody>
      </p:sp>
      <p:pic>
        <p:nvPicPr>
          <p:cNvPr id="38" name="Grafik 7">
            <a:extLst>
              <a:ext uri="{FF2B5EF4-FFF2-40B4-BE49-F238E27FC236}">
                <a16:creationId xmlns:a16="http://schemas.microsoft.com/office/drawing/2014/main" id="{1B5CB5F5-4234-A61F-420B-0095288C0E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1029" y="285966"/>
            <a:ext cx="1798639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el 36">
            <a:extLst>
              <a:ext uri="{FF2B5EF4-FFF2-40B4-BE49-F238E27FC236}">
                <a16:creationId xmlns:a16="http://schemas.microsoft.com/office/drawing/2014/main" id="{14F3537B-2561-1E66-C3A6-A14F1775518E}"/>
              </a:ext>
            </a:extLst>
          </p:cNvPr>
          <p:cNvSpPr txBox="1">
            <a:spLocks/>
          </p:cNvSpPr>
          <p:nvPr/>
        </p:nvSpPr>
        <p:spPr>
          <a:xfrm>
            <a:off x="395926" y="1653842"/>
            <a:ext cx="5404799" cy="918641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l-PL" sz="2400" dirty="0">
              <a:solidFill>
                <a:schemeClr val="accent1">
                  <a:lumMod val="7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8" name="Titel 36">
            <a:extLst>
              <a:ext uri="{FF2B5EF4-FFF2-40B4-BE49-F238E27FC236}">
                <a16:creationId xmlns:a16="http://schemas.microsoft.com/office/drawing/2014/main" id="{7D9DDBA3-A12A-6CB0-7D97-B9C2E9D0E8EF}"/>
              </a:ext>
            </a:extLst>
          </p:cNvPr>
          <p:cNvSpPr txBox="1">
            <a:spLocks/>
          </p:cNvSpPr>
          <p:nvPr/>
        </p:nvSpPr>
        <p:spPr>
          <a:xfrm>
            <a:off x="543564" y="1463213"/>
            <a:ext cx="5404799" cy="918641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l-PL" sz="2400" dirty="0">
              <a:solidFill>
                <a:schemeClr val="accent1">
                  <a:lumMod val="7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" name="Titel 36">
            <a:extLst>
              <a:ext uri="{FF2B5EF4-FFF2-40B4-BE49-F238E27FC236}">
                <a16:creationId xmlns:a16="http://schemas.microsoft.com/office/drawing/2014/main" id="{8513C9CD-FD6B-DE28-9DF1-5E1A81D198C2}"/>
              </a:ext>
            </a:extLst>
          </p:cNvPr>
          <p:cNvSpPr txBox="1">
            <a:spLocks/>
          </p:cNvSpPr>
          <p:nvPr/>
        </p:nvSpPr>
        <p:spPr>
          <a:xfrm>
            <a:off x="481029" y="1604903"/>
            <a:ext cx="3947351" cy="918641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solidFill>
                  <a:schemeClr val="accent1"/>
                </a:solidFill>
                <a:latin typeface="UNIQA Galano" panose="02010003040200000000" pitchFamily="50" charset="0"/>
                <a:ea typeface="+mn-ea"/>
                <a:cs typeface="+mn-cs"/>
              </a:rPr>
              <a:t>Funkcjonalności </a:t>
            </a:r>
          </a:p>
          <a:p>
            <a:endParaRPr lang="pl-PL" sz="2400" dirty="0">
              <a:solidFill>
                <a:schemeClr val="accent1"/>
              </a:solidFill>
              <a:latin typeface="UNIQA Galano" panose="02010003040200000000" pitchFamily="50" charset="0"/>
              <a:ea typeface="+mn-ea"/>
              <a:cs typeface="+mn-cs"/>
            </a:endParaRPr>
          </a:p>
          <a:p>
            <a:r>
              <a:rPr lang="pl-PL" sz="2400" b="1" dirty="0">
                <a:solidFill>
                  <a:schemeClr val="accent1"/>
                </a:solidFill>
                <a:latin typeface="UNIQA Galano" panose="02010003040200000000" pitchFamily="50" charset="0"/>
                <a:ea typeface="+mn-ea"/>
                <a:cs typeface="+mn-cs"/>
              </a:rPr>
              <a:t>wniosku elektronicznego Bezpieczne Mieszkanie</a:t>
            </a:r>
          </a:p>
          <a:p>
            <a:endParaRPr lang="pl-PL" sz="2400" dirty="0">
              <a:solidFill>
                <a:schemeClr val="accent1">
                  <a:lumMod val="7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15" name="pole tekstowe 14">
            <a:extLst>
              <a:ext uri="{FF2B5EF4-FFF2-40B4-BE49-F238E27FC236}">
                <a16:creationId xmlns:a16="http://schemas.microsoft.com/office/drawing/2014/main" id="{F0179B4C-1590-EE5F-352E-651E27DF3861}"/>
              </a:ext>
            </a:extLst>
          </p:cNvPr>
          <p:cNvSpPr txBox="1"/>
          <p:nvPr/>
        </p:nvSpPr>
        <p:spPr>
          <a:xfrm>
            <a:off x="4772937" y="263730"/>
            <a:ext cx="6938034" cy="72943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  <a:ea typeface="+mn-ea"/>
              <a:cs typeface="+mn-cs"/>
            </a:endParaRPr>
          </a:p>
          <a:p>
            <a:pPr algn="ctr"/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  <a:ea typeface="+mn-ea"/>
              <a:cs typeface="+mn-cs"/>
            </a:endParaRPr>
          </a:p>
          <a:p>
            <a:pPr algn="ctr"/>
            <a:endParaRPr lang="pl-PL" sz="800" dirty="0">
              <a:solidFill>
                <a:schemeClr val="accent1"/>
              </a:solidFill>
              <a:latin typeface="UNIQA Galano" panose="02010003040200000000" pitchFamily="50" charset="0"/>
              <a:ea typeface="+mn-ea"/>
              <a:cs typeface="+mn-cs"/>
            </a:endParaRPr>
          </a:p>
          <a:p>
            <a:pPr marL="342900" indent="-342900" algn="ctr">
              <a:buFont typeface="Wingdings" panose="05000000000000000000" pitchFamily="2" charset="2"/>
              <a:buChar char="Ø"/>
            </a:pPr>
            <a:r>
              <a:rPr lang="pl-PL" sz="2000" b="1" dirty="0">
                <a:solidFill>
                  <a:schemeClr val="accent1"/>
                </a:solidFill>
                <a:latin typeface="UNIQA Galano" panose="02010003040200000000" pitchFamily="50" charset="0"/>
              </a:rPr>
              <a:t>Możliwość złożenia wniosku </a:t>
            </a:r>
            <a:r>
              <a:rPr lang="pl-PL" sz="2000" dirty="0">
                <a:solidFill>
                  <a:schemeClr val="accent1"/>
                </a:solidFill>
                <a:latin typeface="UNIQA Galano" panose="02010003040200000000" pitchFamily="50" charset="0"/>
              </a:rPr>
              <a:t>o ubezpieczenie mieszkania bezpośrednio ze strony www Partnera UNIQA (poprzez spersonalizowany link lub baner) lub za pośrednictwem kodu QR</a:t>
            </a:r>
          </a:p>
          <a:p>
            <a:pPr marL="342900" indent="-342900" algn="ctr">
              <a:buFont typeface="Wingdings" panose="05000000000000000000" pitchFamily="2" charset="2"/>
              <a:buChar char="Ø"/>
            </a:pPr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marL="342900" indent="-342900" algn="ctr">
              <a:buFont typeface="Wingdings" panose="05000000000000000000" pitchFamily="2" charset="2"/>
              <a:buChar char="Ø"/>
            </a:pPr>
            <a:r>
              <a:rPr lang="pl-PL" sz="2000" b="1" dirty="0">
                <a:solidFill>
                  <a:schemeClr val="accent1"/>
                </a:solidFill>
                <a:latin typeface="UNIQA Galano" panose="02010003040200000000" pitchFamily="50" charset="0"/>
              </a:rPr>
              <a:t>Szybkość wypełnienia danych </a:t>
            </a:r>
            <a:r>
              <a:rPr lang="pl-PL" sz="2000" dirty="0">
                <a:solidFill>
                  <a:schemeClr val="accent1"/>
                </a:solidFill>
                <a:latin typeface="UNIQA Galano" panose="02010003040200000000" pitchFamily="50" charset="0"/>
              </a:rPr>
              <a:t>tylko cztery kroki </a:t>
            </a:r>
          </a:p>
          <a:p>
            <a:pPr marL="342900" indent="-342900" algn="ctr">
              <a:buFont typeface="Wingdings" panose="05000000000000000000" pitchFamily="2" charset="2"/>
              <a:buChar char="Ø"/>
            </a:pPr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marL="342900" indent="-342900" algn="ctr">
              <a:buFont typeface="Wingdings" panose="05000000000000000000" pitchFamily="2" charset="2"/>
              <a:buChar char="Ø"/>
            </a:pPr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marL="342900" indent="-342900" algn="ctr">
              <a:buFont typeface="Wingdings" panose="05000000000000000000" pitchFamily="2" charset="2"/>
              <a:buChar char="Ø"/>
            </a:pPr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marL="342900" indent="-342900" algn="ctr">
              <a:buFont typeface="Wingdings" panose="05000000000000000000" pitchFamily="2" charset="2"/>
              <a:buChar char="Ø"/>
            </a:pPr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marL="342900" indent="-342900" algn="ctr">
              <a:buFont typeface="Wingdings" panose="05000000000000000000" pitchFamily="2" charset="2"/>
              <a:buChar char="Ø"/>
            </a:pPr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marL="342900" indent="-342900" algn="ctr">
              <a:buFont typeface="Wingdings" panose="05000000000000000000" pitchFamily="2" charset="2"/>
              <a:buChar char="Ø"/>
            </a:pPr>
            <a:r>
              <a:rPr lang="pl-PL" sz="2000" b="1" dirty="0">
                <a:solidFill>
                  <a:schemeClr val="accent1"/>
                </a:solidFill>
                <a:latin typeface="UNIQA Galano" panose="02010003040200000000" pitchFamily="50" charset="0"/>
              </a:rPr>
              <a:t>Prosta i przejrzysta forma</a:t>
            </a:r>
            <a:r>
              <a:rPr lang="pl-PL" sz="2000" dirty="0">
                <a:solidFill>
                  <a:schemeClr val="accent1"/>
                </a:solidFill>
                <a:latin typeface="UNIQA Galano" panose="02010003040200000000" pitchFamily="50" charset="0"/>
              </a:rPr>
              <a:t> podpowiedzi kontekstowe, proste komunikaty w przypadku błędnie podanych danych, walidacje</a:t>
            </a:r>
          </a:p>
          <a:p>
            <a:pPr marL="342900" indent="-342900" algn="ctr">
              <a:buFont typeface="Wingdings" panose="05000000000000000000" pitchFamily="2" charset="2"/>
              <a:buChar char="Ø"/>
            </a:pPr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marL="342900" indent="-342900" algn="ctr">
              <a:buFont typeface="Wingdings" panose="05000000000000000000" pitchFamily="2" charset="2"/>
              <a:buChar char="Ø"/>
            </a:pPr>
            <a:r>
              <a:rPr lang="pl-PL" sz="2000" b="1" dirty="0">
                <a:solidFill>
                  <a:schemeClr val="accent1"/>
                </a:solidFill>
                <a:latin typeface="UNIQA Galano" panose="02010003040200000000" pitchFamily="50" charset="0"/>
              </a:rPr>
              <a:t>Dostępność wszystkich wariantów </a:t>
            </a:r>
            <a:r>
              <a:rPr lang="pl-PL" sz="2000" dirty="0">
                <a:solidFill>
                  <a:schemeClr val="accent1"/>
                </a:solidFill>
                <a:latin typeface="UNIQA Galano" panose="02010003040200000000" pitchFamily="50" charset="0"/>
              </a:rPr>
              <a:t>(Bezpieczny, Bezpieczny Plus, Bezpieczny Nagrobek)</a:t>
            </a:r>
          </a:p>
          <a:p>
            <a:pPr marL="342900" indent="-342900" algn="ctr">
              <a:buFont typeface="Wingdings" panose="05000000000000000000" pitchFamily="2" charset="2"/>
              <a:buChar char="Ø"/>
            </a:pPr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marL="342900" indent="-342900" algn="ctr">
              <a:buFont typeface="Wingdings" panose="05000000000000000000" pitchFamily="2" charset="2"/>
              <a:buChar char="Ø"/>
            </a:pPr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algn="ctr"/>
            <a:endParaRPr lang="pl-PL" sz="2000" b="1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algn="ctr"/>
            <a:endParaRPr lang="pl-PL" sz="2000" dirty="0">
              <a:solidFill>
                <a:schemeClr val="accent1"/>
              </a:solidFill>
              <a:latin typeface="UNIQA Galano" panose="02010003040200000000" pitchFamily="50" charset="0"/>
              <a:ea typeface="+mn-ea"/>
              <a:cs typeface="+mn-cs"/>
            </a:endParaRP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0BA17387-B344-82C0-CCE5-AE42DA0B02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5311" y="2970065"/>
            <a:ext cx="8390622" cy="1163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724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6EFC43-3E41-71C7-81C8-5BB111C8DB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529C075-B14D-F89B-FB03-039F0256E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2800" dirty="0"/>
              <a:t>Złożenie wniosku elektronicznego - kroki</a:t>
            </a:r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8B9CAFB1-1CF1-D00C-0437-00923D99F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5</a:t>
            </a:fld>
            <a:endParaRPr lang="de-AT" dirty="0"/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id="{F558CF07-EE55-59EE-0C8A-0678584452A0}"/>
              </a:ext>
            </a:extLst>
          </p:cNvPr>
          <p:cNvSpPr txBox="1"/>
          <p:nvPr/>
        </p:nvSpPr>
        <p:spPr>
          <a:xfrm>
            <a:off x="1870733" y="893664"/>
            <a:ext cx="10201465" cy="61247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pl-PL" dirty="0">
              <a:solidFill>
                <a:schemeClr val="accent1"/>
              </a:solidFill>
              <a:latin typeface="UNIQA Galano" panose="02010003040200000000" pitchFamily="50" charset="0"/>
              <a:ea typeface="+mn-ea"/>
              <a:cs typeface="+mn-cs"/>
            </a:endParaRPr>
          </a:p>
          <a:p>
            <a:pPr marL="342900" indent="-34290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pl-PL" b="1" dirty="0">
                <a:solidFill>
                  <a:schemeClr val="accent1"/>
                </a:solidFill>
                <a:latin typeface="UNIQA Galano" panose="02010003040200000000" pitchFamily="50" charset="0"/>
              </a:rPr>
              <a:t>Wypełnienie APK </a:t>
            </a:r>
            <a:r>
              <a:rPr lang="pl-PL" dirty="0">
                <a:solidFill>
                  <a:schemeClr val="accent1"/>
                </a:solidFill>
                <a:latin typeface="UNIQA Galano" panose="02010003040200000000" pitchFamily="50" charset="0"/>
              </a:rPr>
              <a:t>informacja o nieruchomości, o formie własności nieruchomości, zakres podstawowy ochrony, zakres dodatkowy ochrony, dane kontaktowe</a:t>
            </a:r>
          </a:p>
          <a:p>
            <a:pPr marL="342900" indent="-34290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pl-PL" b="1" dirty="0">
                <a:solidFill>
                  <a:schemeClr val="accent1"/>
                </a:solidFill>
                <a:latin typeface="UNIQA Galano" panose="02010003040200000000" pitchFamily="50" charset="0"/>
              </a:rPr>
              <a:t>Mailowa wysyłka dokumentów do klienta </a:t>
            </a:r>
            <a:r>
              <a:rPr lang="pl-PL" dirty="0">
                <a:solidFill>
                  <a:schemeClr val="accent1"/>
                </a:solidFill>
                <a:latin typeface="UNIQA Galano" panose="02010003040200000000" pitchFamily="50" charset="0"/>
              </a:rPr>
              <a:t>przed złożeniem wniosku klient otrzymuje formularz APK, OWU/SWU, IPID, regulamin, obowiązki informacyjne UNIQA, informacje dot. agenta</a:t>
            </a:r>
          </a:p>
          <a:p>
            <a:endParaRPr lang="pl-PL" b="1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pl-PL" b="1" dirty="0">
                <a:solidFill>
                  <a:schemeClr val="accent1"/>
                </a:solidFill>
                <a:latin typeface="UNIQA Galano" panose="02010003040200000000" pitchFamily="50" charset="0"/>
              </a:rPr>
              <a:t>Wybór składki i dane do wniosku </a:t>
            </a:r>
            <a:r>
              <a:rPr lang="pl-PL" dirty="0">
                <a:solidFill>
                  <a:schemeClr val="accent1"/>
                </a:solidFill>
                <a:latin typeface="UNIQA Galano" panose="02010003040200000000" pitchFamily="50" charset="0"/>
              </a:rPr>
              <a:t>wybór składki, daty ochrony, uzupełnienie danych dot. Ubezpieczającego/Ubezpieczonego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pl-PL" b="1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pl-PL" b="1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pl-PL" b="1" dirty="0">
                <a:solidFill>
                  <a:schemeClr val="accent1"/>
                </a:solidFill>
                <a:latin typeface="UNIQA Galano" panose="02010003040200000000" pitchFamily="50" charset="0"/>
              </a:rPr>
              <a:t>Weryfikacja danych oraz złożenie oświadczeń i zgód marketingowych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pl-PL" b="1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endParaRPr lang="pl-PL" b="1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marL="342900" indent="-34290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pl-PL" b="1" dirty="0">
                <a:solidFill>
                  <a:schemeClr val="accent1"/>
                </a:solidFill>
                <a:latin typeface="UNIQA Galano" panose="02010003040200000000" pitchFamily="50" charset="0"/>
              </a:rPr>
              <a:t>Dokumenty i finalizacja złożenia wniosku</a:t>
            </a:r>
          </a:p>
          <a:p>
            <a:pPr marL="342900" indent="-34290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pl-PL" b="1" dirty="0">
                <a:solidFill>
                  <a:schemeClr val="accent1"/>
                </a:solidFill>
                <a:latin typeface="UNIQA Galano" panose="02010003040200000000" pitchFamily="50" charset="0"/>
              </a:rPr>
              <a:t>Mailowe potwierdzenie złożenia wniosku</a:t>
            </a:r>
            <a:r>
              <a:rPr lang="pl-PL" dirty="0">
                <a:solidFill>
                  <a:schemeClr val="accent1"/>
                </a:solidFill>
                <a:latin typeface="UNIQA Galano" panose="02010003040200000000" pitchFamily="50" charset="0"/>
              </a:rPr>
              <a:t> dla klienta i do JT UNIQA</a:t>
            </a:r>
          </a:p>
          <a:p>
            <a:pPr marL="342900" indent="-34290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pl-PL" b="1" dirty="0">
                <a:solidFill>
                  <a:schemeClr val="accent1"/>
                </a:solidFill>
                <a:latin typeface="UNIQA Galano" panose="02010003040200000000" pitchFamily="50" charset="0"/>
              </a:rPr>
              <a:t>Kontakt telefoniczny z Klientem </a:t>
            </a:r>
            <a:r>
              <a:rPr lang="pl-PL" dirty="0">
                <a:solidFill>
                  <a:schemeClr val="accent1"/>
                </a:solidFill>
                <a:latin typeface="UNIQA Galano" panose="02010003040200000000" pitchFamily="50" charset="0"/>
              </a:rPr>
              <a:t>w celu potwierdzenia danych, APK</a:t>
            </a:r>
          </a:p>
          <a:p>
            <a:endParaRPr lang="pl-PL" b="1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endParaRPr lang="pl-PL" dirty="0">
              <a:solidFill>
                <a:schemeClr val="accent1"/>
              </a:solidFill>
              <a:latin typeface="UNIQA Galano" panose="02010003040200000000" pitchFamily="50" charset="0"/>
              <a:ea typeface="+mn-ea"/>
              <a:cs typeface="+mn-cs"/>
            </a:endParaRPr>
          </a:p>
        </p:txBody>
      </p:sp>
      <p:sp>
        <p:nvSpPr>
          <p:cNvPr id="9" name="Strzałka: w prawo 8">
            <a:extLst>
              <a:ext uri="{FF2B5EF4-FFF2-40B4-BE49-F238E27FC236}">
                <a16:creationId xmlns:a16="http://schemas.microsoft.com/office/drawing/2014/main" id="{A9E33920-6753-FBFC-AE5D-11BEB7DC4681}"/>
              </a:ext>
            </a:extLst>
          </p:cNvPr>
          <p:cNvSpPr/>
          <p:nvPr/>
        </p:nvSpPr>
        <p:spPr>
          <a:xfrm>
            <a:off x="327978" y="1361236"/>
            <a:ext cx="1473858" cy="918641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 anchorCtr="0"/>
          <a:lstStyle/>
          <a:p>
            <a:pPr algn="l">
              <a:spcAft>
                <a:spcPts val="1000"/>
              </a:spcAft>
            </a:pPr>
            <a:r>
              <a:rPr lang="pl-PL" sz="1400" dirty="0">
                <a:solidFill>
                  <a:srgbClr val="F7A600"/>
                </a:solidFill>
                <a:latin typeface="+mj-lt"/>
                <a:ea typeface="+mj-ea"/>
                <a:cs typeface="+mj-cs"/>
              </a:rPr>
              <a:t>KROK 1</a:t>
            </a:r>
          </a:p>
        </p:txBody>
      </p:sp>
      <p:sp>
        <p:nvSpPr>
          <p:cNvPr id="14" name="Strzałka: w prawo 13">
            <a:extLst>
              <a:ext uri="{FF2B5EF4-FFF2-40B4-BE49-F238E27FC236}">
                <a16:creationId xmlns:a16="http://schemas.microsoft.com/office/drawing/2014/main" id="{67B5CEAD-16B5-9CBC-BEEC-81847BC53A50}"/>
              </a:ext>
            </a:extLst>
          </p:cNvPr>
          <p:cNvSpPr/>
          <p:nvPr/>
        </p:nvSpPr>
        <p:spPr>
          <a:xfrm>
            <a:off x="327978" y="5189508"/>
            <a:ext cx="1473858" cy="815882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 anchorCtr="0"/>
          <a:lstStyle/>
          <a:p>
            <a:pPr algn="l">
              <a:spcAft>
                <a:spcPts val="1000"/>
              </a:spcAft>
            </a:pPr>
            <a:r>
              <a:rPr lang="pl-PL" sz="1400" dirty="0">
                <a:solidFill>
                  <a:srgbClr val="F7A600"/>
                </a:solidFill>
                <a:latin typeface="+mj-lt"/>
                <a:ea typeface="+mj-ea"/>
                <a:cs typeface="+mj-cs"/>
              </a:rPr>
              <a:t>KROK 4</a:t>
            </a:r>
          </a:p>
        </p:txBody>
      </p:sp>
      <p:cxnSp>
        <p:nvCxnSpPr>
          <p:cNvPr id="18" name="Łącznik prosty 17">
            <a:extLst>
              <a:ext uri="{FF2B5EF4-FFF2-40B4-BE49-F238E27FC236}">
                <a16:creationId xmlns:a16="http://schemas.microsoft.com/office/drawing/2014/main" id="{EA39ABAB-C060-97D9-0B31-CF9A9167FABF}"/>
              </a:ext>
            </a:extLst>
          </p:cNvPr>
          <p:cNvCxnSpPr>
            <a:cxnSpLocks/>
          </p:cNvCxnSpPr>
          <p:nvPr/>
        </p:nvCxnSpPr>
        <p:spPr>
          <a:xfrm>
            <a:off x="327978" y="2813962"/>
            <a:ext cx="11463785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Łącznik prosty 18">
            <a:extLst>
              <a:ext uri="{FF2B5EF4-FFF2-40B4-BE49-F238E27FC236}">
                <a16:creationId xmlns:a16="http://schemas.microsoft.com/office/drawing/2014/main" id="{30E9E468-DC51-2B98-33AF-5790C774EFF8}"/>
              </a:ext>
            </a:extLst>
          </p:cNvPr>
          <p:cNvCxnSpPr>
            <a:cxnSpLocks/>
          </p:cNvCxnSpPr>
          <p:nvPr/>
        </p:nvCxnSpPr>
        <p:spPr>
          <a:xfrm>
            <a:off x="327978" y="3902020"/>
            <a:ext cx="11463973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Łącznik prosty 19">
            <a:extLst>
              <a:ext uri="{FF2B5EF4-FFF2-40B4-BE49-F238E27FC236}">
                <a16:creationId xmlns:a16="http://schemas.microsoft.com/office/drawing/2014/main" id="{A849514C-2A1A-4FA0-A2C2-00B48FE23554}"/>
              </a:ext>
            </a:extLst>
          </p:cNvPr>
          <p:cNvCxnSpPr>
            <a:cxnSpLocks/>
          </p:cNvCxnSpPr>
          <p:nvPr/>
        </p:nvCxnSpPr>
        <p:spPr>
          <a:xfrm>
            <a:off x="327790" y="4957426"/>
            <a:ext cx="11463973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trzałka: w prawo 20">
            <a:extLst>
              <a:ext uri="{FF2B5EF4-FFF2-40B4-BE49-F238E27FC236}">
                <a16:creationId xmlns:a16="http://schemas.microsoft.com/office/drawing/2014/main" id="{AB4758C5-1231-4F4B-3878-7A37E77C3EC6}"/>
              </a:ext>
            </a:extLst>
          </p:cNvPr>
          <p:cNvSpPr/>
          <p:nvPr/>
        </p:nvSpPr>
        <p:spPr>
          <a:xfrm>
            <a:off x="327790" y="3960497"/>
            <a:ext cx="1473858" cy="918641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 anchorCtr="0"/>
          <a:lstStyle/>
          <a:p>
            <a:pPr algn="l">
              <a:spcAft>
                <a:spcPts val="1000"/>
              </a:spcAft>
            </a:pPr>
            <a:r>
              <a:rPr lang="pl-PL" sz="1400" dirty="0">
                <a:solidFill>
                  <a:srgbClr val="F7A600"/>
                </a:solidFill>
                <a:latin typeface="+mj-lt"/>
                <a:ea typeface="+mj-ea"/>
                <a:cs typeface="+mj-cs"/>
              </a:rPr>
              <a:t>KROK 3</a:t>
            </a:r>
          </a:p>
        </p:txBody>
      </p:sp>
      <p:sp>
        <p:nvSpPr>
          <p:cNvPr id="22" name="Strzałka: w prawo 21">
            <a:extLst>
              <a:ext uri="{FF2B5EF4-FFF2-40B4-BE49-F238E27FC236}">
                <a16:creationId xmlns:a16="http://schemas.microsoft.com/office/drawing/2014/main" id="{5614175E-460B-77E5-D6D9-F0FB355B077D}"/>
              </a:ext>
            </a:extLst>
          </p:cNvPr>
          <p:cNvSpPr/>
          <p:nvPr/>
        </p:nvSpPr>
        <p:spPr>
          <a:xfrm>
            <a:off x="327978" y="2892251"/>
            <a:ext cx="1473858" cy="918641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 anchorCtr="0"/>
          <a:lstStyle/>
          <a:p>
            <a:pPr algn="l">
              <a:spcAft>
                <a:spcPts val="1000"/>
              </a:spcAft>
            </a:pPr>
            <a:r>
              <a:rPr lang="pl-PL" sz="1400" dirty="0">
                <a:solidFill>
                  <a:srgbClr val="F7A600"/>
                </a:solidFill>
                <a:latin typeface="+mj-lt"/>
                <a:ea typeface="+mj-ea"/>
                <a:cs typeface="+mj-cs"/>
              </a:rPr>
              <a:t>KROK 2</a:t>
            </a:r>
          </a:p>
        </p:txBody>
      </p:sp>
    </p:spTree>
    <p:extLst>
      <p:ext uri="{BB962C8B-B14F-4D97-AF65-F5344CB8AC3E}">
        <p14:creationId xmlns:p14="http://schemas.microsoft.com/office/powerpoint/2010/main" val="41601858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0DAD8B-7FA2-CA02-DA23-86BD0D81C3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64E77DA-ED63-5C10-1039-F6D50606AB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563818"/>
            <a:ext cx="11595987" cy="918641"/>
          </a:xfrm>
        </p:spPr>
        <p:txBody>
          <a:bodyPr/>
          <a:lstStyle/>
          <a:p>
            <a:r>
              <a:rPr lang="pl-PL" sz="2800" dirty="0"/>
              <a:t>Mailing do klienta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F23181A4-4065-18CF-F722-A8CDA5655AE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0EE247-482B-43B2-AB8D-50BA2CC21AEB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4EAD5419-F6AD-315A-FCB2-4288434D58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00BC5643-66E5-D0DF-602F-B0D3FD471F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6</a:t>
            </a:fld>
            <a:endParaRPr lang="de-AT" dirty="0"/>
          </a:p>
        </p:txBody>
      </p:sp>
      <p:pic>
        <p:nvPicPr>
          <p:cNvPr id="15" name="Obraz 14">
            <a:extLst>
              <a:ext uri="{FF2B5EF4-FFF2-40B4-BE49-F238E27FC236}">
                <a16:creationId xmlns:a16="http://schemas.microsoft.com/office/drawing/2014/main" id="{D085705E-E47A-B666-1E29-E2D4F38B1A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138" y="1797992"/>
            <a:ext cx="6181863" cy="3986120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16" name="Tytuł 1">
            <a:extLst>
              <a:ext uri="{FF2B5EF4-FFF2-40B4-BE49-F238E27FC236}">
                <a16:creationId xmlns:a16="http://schemas.microsoft.com/office/drawing/2014/main" id="{C949C5F3-35A8-95DA-3246-90FA598693E7}"/>
              </a:ext>
            </a:extLst>
          </p:cNvPr>
          <p:cNvSpPr txBox="1">
            <a:spLocks/>
          </p:cNvSpPr>
          <p:nvPr/>
        </p:nvSpPr>
        <p:spPr>
          <a:xfrm>
            <a:off x="199139" y="1356402"/>
            <a:ext cx="6181862" cy="36233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800" dirty="0"/>
              <a:t> 1 e-mail: Dokumenty</a:t>
            </a:r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2590CA29-F705-5DFD-C678-99AC4D570889}"/>
              </a:ext>
            </a:extLst>
          </p:cNvPr>
          <p:cNvSpPr txBox="1">
            <a:spLocks/>
          </p:cNvSpPr>
          <p:nvPr/>
        </p:nvSpPr>
        <p:spPr>
          <a:xfrm>
            <a:off x="6476694" y="1356403"/>
            <a:ext cx="5700254" cy="36233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800" dirty="0"/>
              <a:t> 2 e-mail: Potwierdzenie złożenia wniosku</a:t>
            </a:r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26625CE0-6E3A-310D-EA8C-95C02788F5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6694" y="1797992"/>
            <a:ext cx="5700254" cy="3200677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29767561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4DFB7E-92FF-2B95-2EDD-5345498E73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009D3B7-D53F-D0C0-6C27-0F5B3C713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563818"/>
            <a:ext cx="11595987" cy="918641"/>
          </a:xfrm>
        </p:spPr>
        <p:txBody>
          <a:bodyPr/>
          <a:lstStyle/>
          <a:p>
            <a:r>
              <a:rPr lang="pl-PL" sz="2800" dirty="0"/>
              <a:t>Mailing do „wskazanego dystrybutora”</a:t>
            </a:r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191528BB-5F46-EADC-9B22-3550945BF9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7</a:t>
            </a:fld>
            <a:endParaRPr lang="de-AT" dirty="0"/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8EF98F47-841E-6BA3-2E14-602D2F3B21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875" y="1148978"/>
            <a:ext cx="8616496" cy="5476175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2741228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8D83D8-612D-D2A0-6B60-6D6ABC26FB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BF26B600-A96E-A609-8E18-701F985004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563818"/>
            <a:ext cx="11595987" cy="918641"/>
          </a:xfrm>
        </p:spPr>
        <p:txBody>
          <a:bodyPr/>
          <a:lstStyle/>
          <a:p>
            <a:r>
              <a:rPr lang="pl-PL" sz="2800" dirty="0"/>
              <a:t>Obowiązki "wskazanego dystrybutora" po złożeniu wniosku 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63AB4C18-7251-2E8C-A7D1-35E80F6B848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0EE247-482B-43B2-AB8D-50BA2CC21AEB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97A197F2-0789-6B00-650F-6A7233815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97848EBD-5F3A-41C3-71E2-E0CA334B0F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8</a:t>
            </a:fld>
            <a:endParaRPr lang="de-AT" dirty="0"/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1E95A7D5-704A-0E58-FE64-160FC76705C1}"/>
              </a:ext>
            </a:extLst>
          </p:cNvPr>
          <p:cNvSpPr txBox="1"/>
          <p:nvPr/>
        </p:nvSpPr>
        <p:spPr>
          <a:xfrm>
            <a:off x="358404" y="1115955"/>
            <a:ext cx="10845355" cy="56015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endParaRPr lang="pl-PL" dirty="0">
              <a:solidFill>
                <a:schemeClr val="accent1"/>
              </a:solidFill>
              <a:latin typeface="UNIQA Galano" panose="02010003040200000000" pitchFamily="50" charset="0"/>
              <a:ea typeface="+mn-ea"/>
              <a:cs typeface="+mn-cs"/>
            </a:endParaRP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pl-PL" b="1" dirty="0">
                <a:solidFill>
                  <a:schemeClr val="accent1"/>
                </a:solidFill>
                <a:latin typeface="UNIQA Galano" panose="02010003040200000000" pitchFamily="50" charset="0"/>
              </a:rPr>
              <a:t>Kontaktujemy się z klientem po otrzymaniu maila o złożeniu wniosku </a:t>
            </a:r>
          </a:p>
          <a:p>
            <a:pPr>
              <a:spcAft>
                <a:spcPts val="600"/>
              </a:spcAft>
            </a:pPr>
            <a:r>
              <a:rPr lang="pl-PL" b="1" dirty="0">
                <a:solidFill>
                  <a:schemeClr val="accent1"/>
                </a:solidFill>
                <a:latin typeface="UNIQA Galano" panose="02010003040200000000" pitchFamily="50" charset="0"/>
              </a:rPr>
              <a:t>       </a:t>
            </a:r>
            <a:r>
              <a:rPr lang="pl-PL" dirty="0">
                <a:solidFill>
                  <a:schemeClr val="accent1"/>
                </a:solidFill>
                <a:latin typeface="UNIQA Galano" panose="02010003040200000000" pitchFamily="50" charset="0"/>
              </a:rPr>
              <a:t>potwierdzenie warunków, poprawności danych </a:t>
            </a:r>
          </a:p>
          <a:p>
            <a:pPr>
              <a:spcAft>
                <a:spcPts val="1200"/>
              </a:spcAft>
            </a:pPr>
            <a:endParaRPr lang="pl-PL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>
              <a:spcAft>
                <a:spcPts val="600"/>
              </a:spcAft>
            </a:pPr>
            <a:r>
              <a:rPr lang="pl-PL" b="1" dirty="0">
                <a:solidFill>
                  <a:schemeClr val="accent1"/>
                </a:solidFill>
                <a:latin typeface="UNIQA Galano" panose="02010003040200000000" pitchFamily="50" charset="0"/>
              </a:rPr>
              <a:t>2.   Jeśli we wniosku klienta zaznaczony jest </a:t>
            </a:r>
            <a:r>
              <a:rPr lang="pl-PL" b="1" dirty="0" err="1">
                <a:solidFill>
                  <a:schemeClr val="accent1"/>
                </a:solidFill>
                <a:latin typeface="UNIQA Galano" panose="02010003040200000000" pitchFamily="50" charset="0"/>
              </a:rPr>
              <a:t>checkbox</a:t>
            </a:r>
            <a:r>
              <a:rPr lang="pl-PL" b="1" dirty="0">
                <a:solidFill>
                  <a:schemeClr val="accent1"/>
                </a:solidFill>
                <a:latin typeface="UNIQA Galano" panose="02010003040200000000" pitchFamily="50" charset="0"/>
              </a:rPr>
              <a:t>:</a:t>
            </a:r>
          </a:p>
          <a:p>
            <a:pPr>
              <a:spcAft>
                <a:spcPts val="600"/>
              </a:spcAft>
            </a:pPr>
            <a:r>
              <a:rPr lang="pl-PL" b="1" dirty="0">
                <a:solidFill>
                  <a:schemeClr val="accent1"/>
                </a:solidFill>
                <a:latin typeface="UNIQA Galano" panose="02010003040200000000" pitchFamily="50" charset="0"/>
              </a:rPr>
              <a:t>       </a:t>
            </a:r>
          </a:p>
          <a:p>
            <a:pPr>
              <a:spcAft>
                <a:spcPts val="600"/>
              </a:spcAft>
            </a:pPr>
            <a:endParaRPr lang="pl-PL" b="1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>
              <a:spcAft>
                <a:spcPts val="600"/>
              </a:spcAft>
            </a:pPr>
            <a:endParaRPr lang="pl-PL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dirty="0">
                <a:solidFill>
                  <a:schemeClr val="accent1"/>
                </a:solidFill>
                <a:latin typeface="UNIQA Galano" panose="02010003040200000000" pitchFamily="50" charset="0"/>
              </a:rPr>
              <a:t> wysyłamy do klienta oświadczenie rezygnacji z obecnej umowy – przygotowany wzorzec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dirty="0">
                <a:solidFill>
                  <a:schemeClr val="accent1"/>
                </a:solidFill>
                <a:latin typeface="UNIQA Galano" panose="02010003040200000000" pitchFamily="50" charset="0"/>
              </a:rPr>
              <a:t> po odesłaniu rejestrujemy wniosek w POS</a:t>
            </a:r>
          </a:p>
          <a:p>
            <a:pPr>
              <a:spcAft>
                <a:spcPts val="600"/>
              </a:spcAft>
            </a:pPr>
            <a:endParaRPr lang="pl-PL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marL="342900" indent="-342900">
              <a:spcAft>
                <a:spcPts val="600"/>
              </a:spcAft>
              <a:buAutoNum type="arabicPeriod" startAt="3"/>
            </a:pPr>
            <a:r>
              <a:rPr lang="pl-PL" b="1" dirty="0">
                <a:solidFill>
                  <a:schemeClr val="accent1"/>
                </a:solidFill>
                <a:latin typeface="UNIQA Galano" panose="02010003040200000000" pitchFamily="50" charset="0"/>
              </a:rPr>
              <a:t>Wysyłamy polisę z POS wysyłką mailową </a:t>
            </a:r>
          </a:p>
          <a:p>
            <a:pPr marL="342900" indent="-342900">
              <a:spcAft>
                <a:spcPts val="600"/>
              </a:spcAft>
              <a:buAutoNum type="arabicPeriod" startAt="3"/>
            </a:pPr>
            <a:endParaRPr lang="pl-PL" b="1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pPr marL="342900" indent="-342900">
              <a:spcAft>
                <a:spcPts val="600"/>
              </a:spcAft>
              <a:buAutoNum type="arabicPeriod" startAt="3"/>
            </a:pPr>
            <a:r>
              <a:rPr lang="pl-PL" b="1" dirty="0">
                <a:solidFill>
                  <a:schemeClr val="accent1"/>
                </a:solidFill>
                <a:latin typeface="UNIQA Galano" panose="02010003040200000000" pitchFamily="50" charset="0"/>
              </a:rPr>
              <a:t>Archiwizujemy potwierdzenie złożenia wniosku pod polisą w POS</a:t>
            </a:r>
          </a:p>
          <a:p>
            <a:endParaRPr lang="pl-PL" b="1" dirty="0">
              <a:solidFill>
                <a:schemeClr val="accent1"/>
              </a:solidFill>
              <a:latin typeface="UNIQA Galano" panose="02010003040200000000" pitchFamily="50" charset="0"/>
            </a:endParaRPr>
          </a:p>
          <a:p>
            <a:endParaRPr lang="pl-PL" dirty="0">
              <a:solidFill>
                <a:schemeClr val="accent1"/>
              </a:solidFill>
              <a:latin typeface="UNIQA Galano" panose="02010003040200000000" pitchFamily="50" charset="0"/>
              <a:ea typeface="+mn-ea"/>
              <a:cs typeface="+mn-cs"/>
            </a:endParaRPr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49F24873-6FD4-387C-D425-53FE2BEB4F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813" y="2942652"/>
            <a:ext cx="8283658" cy="975445"/>
          </a:xfrm>
          <a:prstGeom prst="rect">
            <a:avLst/>
          </a:prstGeom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48B3E0EB-868E-7F33-54CC-B230813CE3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3184" y="2485452"/>
            <a:ext cx="4600575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79229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9E65BE-05EE-6EBA-176E-3DBD567476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D8B0A89-3735-CEBB-D6F8-EF5182ED3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2800" dirty="0"/>
              <a:t>Zmiany systemowe w POS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883903E6-AB92-4262-AB4E-1EF2B166DFB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0EE247-482B-43B2-AB8D-50BA2CC21AEB}" type="datetime1">
              <a:rPr lang="pl-PL" smtClean="0"/>
              <a:t>07.05.2025</a:t>
            </a:fld>
            <a:endParaRPr lang="de-AT" dirty="0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6D313CA6-3EF2-F6F8-5188-BDA4408994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UNIQA Polska</a:t>
            </a:r>
            <a:endParaRPr lang="de-AT" dirty="0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F0B24C2E-0052-0A5A-0A3A-B03F474705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9</a:t>
            </a:fld>
            <a:endParaRPr lang="de-AT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4FDB6E43-5597-F2CB-38FB-AEFF5190A6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5776" y="1134418"/>
            <a:ext cx="8450781" cy="4930381"/>
          </a:xfrm>
          <a:prstGeom prst="rect">
            <a:avLst/>
          </a:prstGeom>
        </p:spPr>
      </p:pic>
      <p:sp>
        <p:nvSpPr>
          <p:cNvPr id="9" name="pole tekstowe 8">
            <a:extLst>
              <a:ext uri="{FF2B5EF4-FFF2-40B4-BE49-F238E27FC236}">
                <a16:creationId xmlns:a16="http://schemas.microsoft.com/office/drawing/2014/main" id="{29476E1D-BE15-A50C-EA5D-9B4621022808}"/>
              </a:ext>
            </a:extLst>
          </p:cNvPr>
          <p:cNvSpPr txBox="1"/>
          <p:nvPr/>
        </p:nvSpPr>
        <p:spPr>
          <a:xfrm>
            <a:off x="8646557" y="4976039"/>
            <a:ext cx="2668772" cy="108876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buClr>
                <a:schemeClr val="tx2"/>
              </a:buClr>
            </a:pPr>
            <a:r>
              <a:rPr lang="pl-PL" sz="1400" b="1" dirty="0">
                <a:solidFill>
                  <a:schemeClr val="accent1"/>
                </a:solidFill>
                <a:latin typeface="UNIQA Galano" panose="02010003040200000000" pitchFamily="50" charset="0"/>
              </a:rPr>
              <a:t>NOWY CHECKBOX</a:t>
            </a:r>
          </a:p>
          <a:p>
            <a:pPr algn="ctr">
              <a:buClr>
                <a:schemeClr val="tx2"/>
              </a:buClr>
            </a:pPr>
            <a:r>
              <a:rPr lang="pl-PL" sz="1400" b="1" dirty="0">
                <a:solidFill>
                  <a:schemeClr val="accent1"/>
                </a:solidFill>
                <a:latin typeface="UNIQA Galano" panose="02010003040200000000" pitchFamily="50" charset="0"/>
              </a:rPr>
              <a:t> </a:t>
            </a:r>
          </a:p>
          <a:p>
            <a:pPr algn="ctr">
              <a:buClr>
                <a:schemeClr val="tx2"/>
              </a:buClr>
            </a:pPr>
            <a:r>
              <a:rPr lang="pl-PL" sz="1400" dirty="0">
                <a:solidFill>
                  <a:schemeClr val="accent1"/>
                </a:solidFill>
                <a:latin typeface="UNIQA Galano" panose="02010003040200000000" pitchFamily="50" charset="0"/>
              </a:rPr>
              <a:t>użytkownik musi zaznaczyć</a:t>
            </a:r>
            <a:r>
              <a:rPr lang="pl-PL" sz="1400" b="1" dirty="0">
                <a:solidFill>
                  <a:schemeClr val="accent1"/>
                </a:solidFill>
                <a:latin typeface="UNIQA Galano" panose="02010003040200000000" pitchFamily="50" charset="0"/>
              </a:rPr>
              <a:t> TAK </a:t>
            </a:r>
            <a:r>
              <a:rPr lang="pl-PL" sz="1400" dirty="0">
                <a:solidFill>
                  <a:schemeClr val="accent1"/>
                </a:solidFill>
                <a:latin typeface="UNIQA Galano" panose="02010003040200000000" pitchFamily="50" charset="0"/>
              </a:rPr>
              <a:t>lub</a:t>
            </a:r>
            <a:r>
              <a:rPr lang="pl-PL" sz="1400" b="1" dirty="0">
                <a:solidFill>
                  <a:schemeClr val="accent1"/>
                </a:solidFill>
                <a:latin typeface="UNIQA Galano" panose="02010003040200000000" pitchFamily="50" charset="0"/>
              </a:rPr>
              <a:t> NIE</a:t>
            </a:r>
          </a:p>
        </p:txBody>
      </p:sp>
    </p:spTree>
    <p:extLst>
      <p:ext uri="{BB962C8B-B14F-4D97-AF65-F5344CB8AC3E}">
        <p14:creationId xmlns:p14="http://schemas.microsoft.com/office/powerpoint/2010/main" val="25860055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LANGUAGE" val="German Austri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NIQA Template 2022">
  <a:themeElements>
    <a:clrScheme name="UNIQA">
      <a:dk1>
        <a:srgbClr val="000000"/>
      </a:dk1>
      <a:lt1>
        <a:srgbClr val="FFFFFF"/>
      </a:lt1>
      <a:dk2>
        <a:srgbClr val="005CA9"/>
      </a:dk2>
      <a:lt2>
        <a:srgbClr val="FEFFFF"/>
      </a:lt2>
      <a:accent1>
        <a:srgbClr val="007EC5"/>
      </a:accent1>
      <a:accent2>
        <a:srgbClr val="8DA6D6"/>
      </a:accent2>
      <a:accent3>
        <a:srgbClr val="97BCE5"/>
      </a:accent3>
      <a:accent4>
        <a:srgbClr val="0D0D0D"/>
      </a:accent4>
      <a:accent5>
        <a:srgbClr val="CCCCCC"/>
      </a:accent5>
      <a:accent6>
        <a:srgbClr val="E9EFF7"/>
      </a:accent6>
      <a:hlink>
        <a:srgbClr val="005CA9"/>
      </a:hlink>
      <a:folHlink>
        <a:srgbClr val="005CA9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08000" tIns="108000" rIns="108000" bIns="108000" rtlCol="0" anchor="t" anchorCtr="0"/>
      <a:lstStyle>
        <a:defPPr algn="l">
          <a:spcAft>
            <a:spcPts val="100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marL="183600" indent="-183600" algn="l">
          <a:buClr>
            <a:schemeClr val="tx2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Niebieski UNIQA">
      <a:srgbClr val="005CA9"/>
    </a:custClr>
    <a:custClr name="Średni niebieski">
      <a:srgbClr val="007EC5"/>
    </a:custClr>
    <a:custClr name="UNIQA 50">
      <a:srgbClr val="8DA6D6"/>
    </a:custClr>
    <a:custClr name="Średni niebieski50">
      <a:srgbClr val="97BCE5"/>
    </a:custClr>
    <a:custClr name="Czarny95">
      <a:srgbClr val="0D0D0D"/>
    </a:custClr>
    <a:custClr name="Czarny80">
      <a:srgbClr val="CCCCCC"/>
    </a:custClr>
    <a:custClr name="Biały">
      <a:srgbClr val="FFFFFF"/>
    </a:custClr>
    <a:custClr name="Ciemnoniebieski">
      <a:srgbClr val="003869"/>
    </a:custClr>
    <a:custClr name="Fioletowy1">
      <a:srgbClr val="4F227A"/>
    </a:custClr>
    <a:custClr name="Fioletowy2">
      <a:srgbClr val="9B8AB8"/>
    </a:custClr>
    <a:custClr name="Miętowy1">
      <a:srgbClr val="008C89"/>
    </a:custClr>
    <a:custClr name="Miętowy2">
      <a:srgbClr val="49A994"/>
    </a:custClr>
    <a:custClr name="Space">
      <a:srgbClr val="FFFFFF"/>
    </a:custClr>
    <a:custClr name="Dom i mieszkanie">
      <a:srgbClr val="F7A600"/>
    </a:custClr>
    <a:custClr name="Podróż">
      <a:srgbClr val="EC6502"/>
    </a:custClr>
    <a:custClr name="Pojazdy">
      <a:srgbClr val="E3000F"/>
    </a:custClr>
    <a:custClr name="Wypadek">
      <a:srgbClr val="008890"/>
    </a:custClr>
    <a:custClr name="Zdrowie">
      <a:srgbClr val="007432"/>
    </a:custClr>
    <a:custClr name="Ochrona prawna">
      <a:srgbClr val="8A1778"/>
    </a:custClr>
    <a:custClr name="Życie">
      <a:srgbClr val="00628D"/>
    </a:custClr>
    <a:custClr name="Emerytury">
      <a:srgbClr val="00A2DB"/>
    </a:custClr>
    <a:custClr name="Ochrona kapitału">
      <a:srgbClr val="86C2EB"/>
    </a:custClr>
    <a:custClr name="Sztuka">
      <a:srgbClr val="870036"/>
    </a:custClr>
    <a:custClr name="Przedsiębiorstwa, MiŚ">
      <a:srgbClr val="989900"/>
    </a:custClr>
    <a:custClr name="Operacje">
      <a:srgbClr val="A31008"/>
    </a:custClr>
  </a:custClrLst>
  <a:extLst>
    <a:ext uri="{05A4C25C-085E-4340-85A3-A5531E510DB2}">
      <thm15:themeFamily xmlns:thm15="http://schemas.microsoft.com/office/thememl/2012/main" name="UNIQA_2022_PL.pptx" id="{51A5DF79-1A2C-4E52-9816-DE9FE429643F}" vid="{C95AD024-C8B9-49D0-A3C0-6303CA19AA5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c1caba1-c074-4085-93a0-8d7edfe69ea8">
      <Terms xmlns="http://schemas.microsoft.com/office/infopath/2007/PartnerControls"/>
    </lcf76f155ced4ddcb4097134ff3c332f>
    <TaxCatchAll xmlns="4a10f5d1-9e0e-4dc0-8c64-1cb98c90fcaf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68B35FE79913E4DAB2296E7E452B6FD" ma:contentTypeVersion="16" ma:contentTypeDescription="Ein neues Dokument erstellen." ma:contentTypeScope="" ma:versionID="4c3a5272ccaeee67507250d20be715ab">
  <xsd:schema xmlns:xsd="http://www.w3.org/2001/XMLSchema" xmlns:xs="http://www.w3.org/2001/XMLSchema" xmlns:p="http://schemas.microsoft.com/office/2006/metadata/properties" xmlns:ns2="9c1caba1-c074-4085-93a0-8d7edfe69ea8" xmlns:ns3="4a10f5d1-9e0e-4dc0-8c64-1cb98c90fcaf" targetNamespace="http://schemas.microsoft.com/office/2006/metadata/properties" ma:root="true" ma:fieldsID="fc339dc281926b79469c2018f43a3724" ns2:_="" ns3:_="">
    <xsd:import namespace="9c1caba1-c074-4085-93a0-8d7edfe69ea8"/>
    <xsd:import namespace="4a10f5d1-9e0e-4dc0-8c64-1cb98c90fc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1caba1-c074-4085-93a0-8d7edfe69e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10086053-a88a-47f9-b863-8646c5792d0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10f5d1-9e0e-4dc0-8c64-1cb98c90fcaf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36f4fbe5-8ba0-4cea-9712-bf476c33fdc8}" ma:internalName="TaxCatchAll" ma:showField="CatchAllData" ma:web="4a10f5d1-9e0e-4dc0-8c64-1cb98c90fc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7AD6263-FFDE-4E73-8058-40656BE3C9D2}">
  <ds:schemaRefs>
    <ds:schemaRef ds:uri="http://www.w3.org/XML/1998/namespace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terms/"/>
    <ds:schemaRef ds:uri="9c1caba1-c074-4085-93a0-8d7edfe69ea8"/>
    <ds:schemaRef ds:uri="http://purl.org/dc/dcmitype/"/>
    <ds:schemaRef ds:uri="4a10f5d1-9e0e-4dc0-8c64-1cb98c90fcaf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816B8552-6239-415B-AFBE-03B248A5681A}">
  <ds:schemaRefs>
    <ds:schemaRef ds:uri="4a10f5d1-9e0e-4dc0-8c64-1cb98c90fcaf"/>
    <ds:schemaRef ds:uri="9c1caba1-c074-4085-93a0-8d7edfe69ea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7DA25BF-CE66-401E-8FF6-548296B606C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bd9f112b-82b0-45f6-b02e-1175bb945e33}" enabled="0" method="" siteId="{bd9f112b-82b0-45f6-b02e-1175bb945e33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02_UNIQA_ProjektySlajdow_PL</Template>
  <TotalTime>35754</TotalTime>
  <Words>423</Words>
  <Application>Microsoft Office PowerPoint</Application>
  <PresentationFormat>Panoramiczny</PresentationFormat>
  <Paragraphs>120</Paragraphs>
  <Slides>11</Slides>
  <Notes>9</Notes>
  <HiddenSlides>0</HiddenSlides>
  <MMClips>0</MMClips>
  <ScaleCrop>false</ScaleCrop>
  <HeadingPairs>
    <vt:vector size="8" baseType="variant">
      <vt:variant>
        <vt:lpstr>Używane czcionki</vt:lpstr>
      </vt:variant>
      <vt:variant>
        <vt:i4>6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1</vt:i4>
      </vt:variant>
    </vt:vector>
  </HeadingPairs>
  <TitlesOfParts>
    <vt:vector size="19" baseType="lpstr">
      <vt:lpstr>Arial</vt:lpstr>
      <vt:lpstr>Arial Black</vt:lpstr>
      <vt:lpstr>Calibri</vt:lpstr>
      <vt:lpstr>Galano</vt:lpstr>
      <vt:lpstr>UNIQA Galano</vt:lpstr>
      <vt:lpstr>Wingdings</vt:lpstr>
      <vt:lpstr>UNIQA Template 2022</vt:lpstr>
      <vt:lpstr>think-cell Folie</vt:lpstr>
      <vt:lpstr>Wniosek elektroniczny   Bezpieczne Mieszkanie </vt:lpstr>
      <vt:lpstr>Agenda</vt:lpstr>
      <vt:lpstr>Prezentacja programu PowerPoint</vt:lpstr>
      <vt:lpstr>Prezentacja programu PowerPoint</vt:lpstr>
      <vt:lpstr>Złożenie wniosku elektronicznego - kroki</vt:lpstr>
      <vt:lpstr>Mailing do klienta</vt:lpstr>
      <vt:lpstr>Mailing do „wskazanego dystrybutora”</vt:lpstr>
      <vt:lpstr>Obowiązki "wskazanego dystrybutora" po złożeniu wniosku </vt:lpstr>
      <vt:lpstr>Zmiany systemowe w POS</vt:lpstr>
      <vt:lpstr>Materiały marketingowe</vt:lpstr>
      <vt:lpstr>Prezentacja programu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QA dla Mieszkalnictwa</dc:title>
  <dc:creator>Emilia GŁOWACKA</dc:creator>
  <cp:lastModifiedBy>Dorota NEWEL</cp:lastModifiedBy>
  <cp:revision>159</cp:revision>
  <dcterms:created xsi:type="dcterms:W3CDTF">2023-03-27T11:45:07Z</dcterms:created>
  <dcterms:modified xsi:type="dcterms:W3CDTF">2025-05-07T06:2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8B35FE79913E4DAB2296E7E452B6FD</vt:lpwstr>
  </property>
  <property fmtid="{D5CDD505-2E9C-101B-9397-08002B2CF9AE}" pid="3" name="MediaServiceImageTags">
    <vt:lpwstr/>
  </property>
</Properties>
</file>